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2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heme/theme3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f6306fc78a2e4e55" Type="http://schemas.microsoft.com/office/2007/relationships/ui/extensibility" Target="customUI/customUI14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2" r:id="rId1"/>
  </p:sldMasterIdLst>
  <p:notesMasterIdLst>
    <p:notesMasterId r:id="rId27"/>
  </p:notesMasterIdLst>
  <p:handoutMasterIdLst>
    <p:handoutMasterId r:id="rId28"/>
  </p:handoutMasterIdLst>
  <p:sldIdLst>
    <p:sldId id="3097" r:id="rId2"/>
    <p:sldId id="3193" r:id="rId3"/>
    <p:sldId id="3208" r:id="rId4"/>
    <p:sldId id="3147" r:id="rId5"/>
    <p:sldId id="3209" r:id="rId6"/>
    <p:sldId id="3199" r:id="rId7"/>
    <p:sldId id="3210" r:id="rId8"/>
    <p:sldId id="3198" r:id="rId9"/>
    <p:sldId id="3205" r:id="rId10"/>
    <p:sldId id="3206" r:id="rId11"/>
    <p:sldId id="3211" r:id="rId12"/>
    <p:sldId id="3201" r:id="rId13"/>
    <p:sldId id="3207" r:id="rId14"/>
    <p:sldId id="3212" r:id="rId15"/>
    <p:sldId id="3202" r:id="rId16"/>
    <p:sldId id="3197" r:id="rId17"/>
    <p:sldId id="3203" r:id="rId18"/>
    <p:sldId id="3204" r:id="rId19"/>
    <p:sldId id="3213" r:id="rId20"/>
    <p:sldId id="3214" r:id="rId21"/>
    <p:sldId id="3196" r:id="rId22"/>
    <p:sldId id="3092" r:id="rId23"/>
    <p:sldId id="3192" r:id="rId24"/>
    <p:sldId id="3062" r:id="rId25"/>
    <p:sldId id="3088" r:id="rId26"/>
  </p:sldIdLst>
  <p:sldSz cx="12195175" cy="6858000"/>
  <p:notesSz cx="6797675" cy="9874250"/>
  <p:custDataLst>
    <p:tags r:id="rId2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705" userDrawn="1">
          <p15:clr>
            <a:srgbClr val="A4A3A4"/>
          </p15:clr>
        </p15:guide>
        <p15:guide id="2" pos="3977" userDrawn="1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pos="5610" userDrawn="1">
          <p15:clr>
            <a:srgbClr val="A4A3A4"/>
          </p15:clr>
        </p15:guide>
        <p15:guide id="5" pos="5837" userDrawn="1">
          <p15:clr>
            <a:srgbClr val="A4A3A4"/>
          </p15:clr>
        </p15:guide>
        <p15:guide id="6" pos="2707" userDrawn="1">
          <p15:clr>
            <a:srgbClr val="A4A3A4"/>
          </p15:clr>
        </p15:guide>
        <p15:guide id="7" pos="2480" userDrawn="1">
          <p15:clr>
            <a:srgbClr val="A4A3A4"/>
          </p15:clr>
        </p15:guide>
        <p15:guide id="8" pos="2072" userDrawn="1">
          <p15:clr>
            <a:srgbClr val="A4A3A4"/>
          </p15:clr>
        </p15:guide>
        <p15:guide id="9" pos="1845" userDrawn="1">
          <p15:clr>
            <a:srgbClr val="A4A3A4"/>
          </p15:clr>
        </p15:guide>
        <p15:guide id="10" pos="5202" userDrawn="1">
          <p15:clr>
            <a:srgbClr val="A4A3A4"/>
          </p15:clr>
        </p15:guide>
        <p15:guide id="11" pos="49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326" userDrawn="1">
          <p15:clr>
            <a:srgbClr val="A4A3A4"/>
          </p15:clr>
        </p15:guide>
        <p15:guide id="3" pos="400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D8A606C-11EB-469D-A626-DFE3E2F12457}">
  <a:tblStyle styleId="{BD8A606C-11EB-469D-A626-DFE3E2F12457}" styleName="Finanz Informatik Tabelle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rgbClr val="EDEDED"/>
              </a:solidFill>
            </a:ln>
          </a:top>
          <a:bottom>
            <a:ln w="6350" cmpd="sng">
              <a:solidFill>
                <a:srgbClr val="EDEDED"/>
              </a:solidFill>
            </a:ln>
          </a:bottom>
          <a:insideH>
            <a:ln w="6350" cmpd="sng">
              <a:solidFill>
                <a:srgbClr val="EDEDED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</a:tcBdr>
        <a:fill>
          <a:solidFill>
            <a:srgbClr val="D9D9D9"/>
          </a:solidFill>
        </a:fill>
      </a:tcStyle>
    </a:band1H>
    <a:band1V>
      <a:tcStyle>
        <a:tcBdr>
          <a:insideH>
            <a:ln w="6350" cmpd="sng">
              <a:solidFill>
                <a:schemeClr val="dk2"/>
              </a:solidFill>
            </a:ln>
          </a:insideH>
        </a:tcBdr>
        <a:fill>
          <a:solidFill>
            <a:srgbClr val="D9D9D9"/>
          </a:solidFill>
        </a:fill>
      </a:tcStyle>
    </a:band1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>
        <a:fontRef idx="minor">
          <a:prstClr val="black"/>
        </a:fontRef>
        <a:schemeClr val="dk1"/>
      </a:tcTxStyle>
      <a:tcStyle>
        <a:tcBdr>
          <a:top>
            <a:ln w="6350" cmpd="sng">
              <a:solidFill>
                <a:schemeClr val="dk1"/>
              </a:solidFill>
            </a:ln>
          </a:top>
          <a:bottom>
            <a:ln w="6350" cmpd="sng">
              <a:solidFill>
                <a:schemeClr val="dk1"/>
              </a:solidFill>
            </a:ln>
          </a:bottom>
        </a:tcBdr>
      </a:tcStyle>
    </a:lastRow>
    <a:firstRow>
      <a:tcTxStyle>
        <a:fontRef idx="minor">
          <a:prstClr val="black"/>
        </a:fontRef>
        <a:schemeClr val="dk1"/>
      </a:tcTxStyle>
      <a:tcStyle>
        <a:tcBdr>
          <a:top>
            <a:ln w="6350" cmpd="sng">
              <a:solidFill>
                <a:schemeClr val="dk1"/>
              </a:solidFill>
            </a:ln>
          </a:top>
          <a:bottom>
            <a:ln w="6350" cmpd="sng">
              <a:solidFill>
                <a:schemeClr val="dk1"/>
              </a:solidFill>
            </a:ln>
          </a:bottom>
        </a:tcBdr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201" autoAdjust="0"/>
  </p:normalViewPr>
  <p:slideViewPr>
    <p:cSldViewPr showGuides="1">
      <p:cViewPr varScale="1">
        <p:scale>
          <a:sx n="102" d="100"/>
          <a:sy n="102" d="100"/>
        </p:scale>
        <p:origin x="408" y="114"/>
      </p:cViewPr>
      <p:guideLst>
        <p:guide pos="3705"/>
        <p:guide pos="3977"/>
        <p:guide orient="horz" pos="2160"/>
        <p:guide pos="5610"/>
        <p:guide pos="5837"/>
        <p:guide pos="2707"/>
        <p:guide pos="2480"/>
        <p:guide pos="2072"/>
        <p:guide pos="1845"/>
        <p:guide pos="5202"/>
        <p:guide pos="4975"/>
      </p:guideLst>
    </p:cSldViewPr>
  </p:slideViewPr>
  <p:outlineViewPr>
    <p:cViewPr>
      <p:scale>
        <a:sx n="33" d="100"/>
        <a:sy n="33" d="100"/>
      </p:scale>
      <p:origin x="0" y="-1068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>
        <p:scale>
          <a:sx n="86" d="100"/>
          <a:sy n="86" d="100"/>
        </p:scale>
        <p:origin x="3798" y="60"/>
      </p:cViewPr>
      <p:guideLst>
        <p:guide orient="horz" pos="3110"/>
        <p:guide pos="326"/>
        <p:guide pos="400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heme" Target="../theme/theme3.xml"/><Relationship Id="rId4" Type="http://schemas.openxmlformats.org/officeDocument/2006/relationships/image" Target="../media/image2.emf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2678837" y="9401125"/>
            <a:ext cx="720000" cy="107378"/>
          </a:xfrm>
          <a:prstGeom prst="rect">
            <a:avLst/>
          </a:prstGeom>
        </p:spPr>
        <p:txBody>
          <a:bodyPr vert="horz" wrap="none" lIns="36000" tIns="3600" rIns="3600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algn="r"/>
            <a:fld id="{C3583BBE-A03E-410A-AB52-111F9FAB96E1}" type="datetime1">
              <a:rPr lang="de-DE" smtClean="0">
                <a:solidFill>
                  <a:srgbClr val="4D4D4D"/>
                </a:solidFill>
              </a:rPr>
              <a:t>18.12.2024</a:t>
            </a:fld>
            <a:endParaRPr lang="de-DE" dirty="0">
              <a:solidFill>
                <a:srgbClr val="4D4D4D"/>
              </a:solidFill>
            </a:endParaRP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3"/>
          </p:nvPr>
        </p:nvSpPr>
        <p:spPr bwMode="gray">
          <a:xfrm>
            <a:off x="3398837" y="9401125"/>
            <a:ext cx="576000" cy="10737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6000" tIns="3600" rIns="36000" bIns="0" rtlCol="0" anchor="t" anchorCtr="0"/>
          <a:lstStyle>
            <a:lvl1pPr algn="l">
              <a:defRPr lang="de-DE" sz="800" smtClean="0">
                <a:solidFill>
                  <a:schemeClr val="tx1"/>
                </a:solidFill>
              </a:defRPr>
            </a:lvl1pPr>
          </a:lstStyle>
          <a:p>
            <a:r>
              <a:rPr dirty="0">
                <a:solidFill>
                  <a:srgbClr val="4D4D4D"/>
                </a:solidFill>
              </a:rPr>
              <a:t>Seite </a:t>
            </a:r>
            <a:fld id="{DC907883-A228-4E41-A7BF-33DDF6A01B2A}" type="slidenum">
              <a:rPr>
                <a:solidFill>
                  <a:srgbClr val="4D4D4D"/>
                </a:solidFill>
              </a:rPr>
              <a:pPr/>
              <a:t>‹Nr.›</a:t>
            </a:fld>
            <a:endParaRPr dirty="0">
              <a:solidFill>
                <a:srgbClr val="4D4D4D"/>
              </a:solidFill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654430" y="9232744"/>
            <a:ext cx="1698116" cy="272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Rechteck 12"/>
          <p:cNvSpPr/>
          <p:nvPr>
            <p:custDataLst>
              <p:tags r:id="rId3"/>
            </p:custDataLst>
          </p:nvPr>
        </p:nvSpPr>
        <p:spPr bwMode="gray">
          <a:xfrm>
            <a:off x="517171" y="9401125"/>
            <a:ext cx="1224572" cy="10737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3600" rIns="0" bIns="0" rtlCol="0" anchor="t" anchorCtr="0"/>
          <a:lstStyle/>
          <a:p>
            <a:r>
              <a:rPr lang="de-DE" sz="800" dirty="0">
                <a:solidFill>
                  <a:srgbClr val="4D4D4D"/>
                </a:solidFill>
              </a:rPr>
              <a:t>© Finanz Informatik 2021</a:t>
            </a:r>
          </a:p>
        </p:txBody>
      </p:sp>
    </p:spTree>
    <p:extLst>
      <p:ext uri="{BB962C8B-B14F-4D97-AF65-F5344CB8AC3E}">
        <p14:creationId xmlns:p14="http://schemas.microsoft.com/office/powerpoint/2010/main" val="1309881775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theme" Target="../theme/theme2.xml"/><Relationship Id="rId4" Type="http://schemas.openxmlformats.org/officeDocument/2006/relationships/image" Target="../media/image2.emf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536575" y="427038"/>
            <a:ext cx="5797550" cy="3260725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vert="horz" lIns="90736" tIns="45368" rIns="90736" bIns="45368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517171" y="3863221"/>
            <a:ext cx="5835374" cy="527077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6"/>
            <a:r>
              <a:rPr lang="de-DE" dirty="0"/>
              <a:t>7</a:t>
            </a:r>
          </a:p>
          <a:p>
            <a:pPr lvl="7"/>
            <a:r>
              <a:rPr lang="de-DE" dirty="0"/>
              <a:t>8</a:t>
            </a:r>
          </a:p>
          <a:p>
            <a:pPr lvl="8"/>
            <a:r>
              <a:rPr lang="de-DE" dirty="0"/>
              <a:t>9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2750535" y="9401125"/>
            <a:ext cx="648302" cy="107378"/>
          </a:xfrm>
          <a:prstGeom prst="rect">
            <a:avLst/>
          </a:prstGeom>
        </p:spPr>
        <p:txBody>
          <a:bodyPr vert="horz" wrap="none" lIns="36000" tIns="3600" rIns="3600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fld id="{52AF5010-8F67-4737-9E1C-6579FA6872A8}" type="datetime1">
              <a:rPr lang="de-DE" smtClean="0">
                <a:solidFill>
                  <a:srgbClr val="4D4D4D"/>
                </a:solidFill>
              </a:rPr>
              <a:t>18.12.2024</a:t>
            </a:fld>
            <a:endParaRPr lang="de-DE" dirty="0">
              <a:solidFill>
                <a:srgbClr val="4D4D4D"/>
              </a:solidFill>
            </a:endParaRP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5"/>
          </p:nvPr>
        </p:nvSpPr>
        <p:spPr bwMode="gray">
          <a:xfrm>
            <a:off x="3398837" y="9401125"/>
            <a:ext cx="576000" cy="10737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6000" tIns="3600" rIns="36000" bIns="0" rtlCol="0" anchor="t" anchorCtr="0"/>
          <a:lstStyle>
            <a:lvl1pPr algn="l">
              <a:defRPr lang="de-DE" sz="800" smtClean="0">
                <a:solidFill>
                  <a:schemeClr val="tx1"/>
                </a:solidFill>
              </a:defRPr>
            </a:lvl1pPr>
          </a:lstStyle>
          <a:p>
            <a:r>
              <a:rPr lang="de-DE" dirty="0">
                <a:solidFill>
                  <a:srgbClr val="4D4D4D"/>
                </a:solidFill>
              </a:rPr>
              <a:t>Seite </a:t>
            </a:r>
            <a:fld id="{DC907883-A228-4E41-A7BF-33DDF6A01B2A}" type="slidenum">
              <a:rPr smtClean="0">
                <a:solidFill>
                  <a:srgbClr val="4D4D4D"/>
                </a:solidFill>
              </a:rPr>
              <a:pPr/>
              <a:t>‹Nr.›</a:t>
            </a:fld>
            <a:endParaRPr dirty="0">
              <a:solidFill>
                <a:srgbClr val="4D4D4D"/>
              </a:solidFill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654430" y="9232744"/>
            <a:ext cx="1698116" cy="272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517171" y="9401125"/>
            <a:ext cx="1224572" cy="10737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3600" rIns="0" bIns="0" rtlCol="0" anchor="t" anchorCtr="0"/>
          <a:lstStyle/>
          <a:p>
            <a:r>
              <a:rPr lang="de-DE" sz="800" dirty="0">
                <a:solidFill>
                  <a:srgbClr val="4D4D4D"/>
                </a:solidFill>
              </a:rPr>
              <a:t>© Finanz Informatik 2021 </a:t>
            </a:r>
          </a:p>
        </p:txBody>
      </p:sp>
    </p:spTree>
    <p:extLst>
      <p:ext uri="{BB962C8B-B14F-4D97-AF65-F5344CB8AC3E}">
        <p14:creationId xmlns:p14="http://schemas.microsoft.com/office/powerpoint/2010/main" val="1998125711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100" b="1" kern="1200">
        <a:solidFill>
          <a:schemeClr val="tx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spcBef>
        <a:spcPts val="200"/>
      </a:spcBef>
      <a:spcAft>
        <a:spcPts val="200"/>
      </a:spcAft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44000" indent="-144000" algn="l" defTabSz="914400" rtl="0" eaLnBrk="1" latinLnBrk="0" hangingPunct="1">
      <a:spcBef>
        <a:spcPts val="200"/>
      </a:spcBef>
      <a:spcAft>
        <a:spcPts val="200"/>
      </a:spcAft>
      <a:buFont typeface="Arial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Bef>
        <a:spcPts val="200"/>
      </a:spcBef>
      <a:spcAft>
        <a:spcPts val="200"/>
      </a:spcAft>
      <a:buFont typeface="Arial" pitchFamily="34" charset="0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Bef>
        <a:spcPts val="200"/>
      </a:spcBef>
      <a:spcAft>
        <a:spcPts val="200"/>
      </a:spcAft>
      <a:buFont typeface="Arial" pitchFamily="34" charset="0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432000" indent="-144000" algn="l" defTabSz="914400" rtl="0" eaLnBrk="1" latinLnBrk="0" hangingPunct="1">
      <a:spcBef>
        <a:spcPts val="200"/>
      </a:spcBef>
      <a:spcAft>
        <a:spcPts val="200"/>
      </a:spcAft>
      <a:buFont typeface="Arial" pitchFamily="34" charset="0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432000" indent="-144000" algn="l" defTabSz="914400" rtl="0" eaLnBrk="1" latinLnBrk="0" hangingPunct="1">
      <a:spcBef>
        <a:spcPts val="200"/>
      </a:spcBef>
      <a:spcAft>
        <a:spcPts val="200"/>
      </a:spcAft>
      <a:buFont typeface="Arial" pitchFamily="34" charset="0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432000" indent="-144000" algn="l" defTabSz="914400" rtl="0" eaLnBrk="1" latinLnBrk="0" hangingPunct="1">
      <a:spcBef>
        <a:spcPts val="200"/>
      </a:spcBef>
      <a:spcAft>
        <a:spcPts val="200"/>
      </a:spcAft>
      <a:buFont typeface="Arial" pitchFamily="34" charset="0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432000" indent="-144000" algn="l" defTabSz="914400" rtl="0" eaLnBrk="1" latinLnBrk="0" hangingPunct="1">
      <a:spcBef>
        <a:spcPts val="200"/>
      </a:spcBef>
      <a:spcAft>
        <a:spcPts val="200"/>
      </a:spcAft>
      <a:buFont typeface="Arial" pitchFamily="34" charset="0"/>
      <a:buChar char="-"/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.xml"/><Relationship Id="rId7" Type="http://schemas.openxmlformats.org/officeDocument/2006/relationships/oleObject" Target="../embeddings/oleObject2.bin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7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2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15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Relationship Id="rId9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tags" Target="../tags/tag18.xml"/><Relationship Id="rId7" Type="http://schemas.openxmlformats.org/officeDocument/2006/relationships/image" Target="../media/image3.emf"/><Relationship Id="rId2" Type="http://schemas.openxmlformats.org/officeDocument/2006/relationships/tags" Target="../tags/tag1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Relationship Id="rId9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7.emf"/><Relationship Id="rId2" Type="http://schemas.openxmlformats.org/officeDocument/2006/relationships/tags" Target="../tags/tag62.xml"/><Relationship Id="rId1" Type="http://schemas.openxmlformats.org/officeDocument/2006/relationships/vmlDrawing" Target="../drawings/vmlDrawing42.vml"/><Relationship Id="rId6" Type="http://schemas.openxmlformats.org/officeDocument/2006/relationships/oleObject" Target="../embeddings/oleObject4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6.xml"/><Relationship Id="rId7" Type="http://schemas.openxmlformats.org/officeDocument/2006/relationships/image" Target="../media/image3.emf"/><Relationship Id="rId2" Type="http://schemas.openxmlformats.org/officeDocument/2006/relationships/tags" Target="../tags/tag65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4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7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2.emf"/><Relationship Id="rId4" Type="http://schemas.openxmlformats.org/officeDocument/2006/relationships/image" Target="../media/image9.pn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1.xml"/><Relationship Id="rId7" Type="http://schemas.openxmlformats.org/officeDocument/2006/relationships/image" Target="../media/image3.emf"/><Relationship Id="rId2" Type="http://schemas.openxmlformats.org/officeDocument/2006/relationships/tags" Target="../tags/tag70.xml"/><Relationship Id="rId1" Type="http://schemas.openxmlformats.org/officeDocument/2006/relationships/vmlDrawing" Target="../drawings/vmlDrawing44.vml"/><Relationship Id="rId6" Type="http://schemas.openxmlformats.org/officeDocument/2006/relationships/oleObject" Target="../embeddings/oleObject4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5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4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6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7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tags" Target="../tags/tag21.xml"/><Relationship Id="rId7" Type="http://schemas.openxmlformats.org/officeDocument/2006/relationships/image" Target="../media/image3.emf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2.xml"/><Relationship Id="rId9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4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intern/ex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6CD355B-1BFE-459B-B4A7-CBEE6B68F3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089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Folie" r:id="rId7" imgW="306" imgH="306" progId="TCLayout.ActiveDocument.1">
                  <p:embed/>
                </p:oleObj>
              </mc:Choice>
              <mc:Fallback>
                <p:oleObj name="think-cell Folie" r:id="rId7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6CD355B-1BFE-459B-B4A7-CBEE6B68F3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49">
            <a:extLst>
              <a:ext uri="{FF2B5EF4-FFF2-40B4-BE49-F238E27FC236}">
                <a16:creationId xmlns:a16="http://schemas.microsoft.com/office/drawing/2014/main" id="{53855B4C-68C5-4C05-B746-56049097A66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3140968"/>
            <a:ext cx="12195175" cy="2808982"/>
          </a:xfrm>
          <a:prstGeom prst="rect">
            <a:avLst/>
          </a:prstGeom>
          <a:solidFill>
            <a:srgbClr val="DDE0E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444B52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8" name="Titel 37">
            <a:extLst>
              <a:ext uri="{FF2B5EF4-FFF2-40B4-BE49-F238E27FC236}">
                <a16:creationId xmlns:a16="http://schemas.microsoft.com/office/drawing/2014/main" id="{83E8E926-86FA-4FD1-AE0B-EF24CE1508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3587" y="0"/>
            <a:ext cx="6984226" cy="5949950"/>
          </a:xfrm>
          <a:solidFill>
            <a:schemeClr val="bg2"/>
          </a:solidFill>
        </p:spPr>
        <p:txBody>
          <a:bodyPr vert="horz" lIns="648000" rIns="648000" bIns="2160000"/>
          <a:lstStyle>
            <a:lvl1pPr>
              <a:defRPr sz="4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Titel der</a:t>
            </a:r>
            <a:br>
              <a:rPr lang="de-DE" dirty="0"/>
            </a:br>
            <a:r>
              <a:rPr lang="de-DE" dirty="0"/>
              <a:t>Prä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561083" y="3789040"/>
            <a:ext cx="5544616" cy="1584326"/>
          </a:xfrm>
          <a:prstGeom prst="rect">
            <a:avLst/>
          </a:prstGeom>
          <a:noFill/>
          <a:ln>
            <a:noFill/>
          </a:ln>
        </p:spPr>
        <p:txBody>
          <a:bodyPr wrap="square" lIns="0" tIns="216000" rIns="0" bIns="216000" rtlCol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Untertitel der Präsentation</a:t>
            </a:r>
          </a:p>
        </p:txBody>
      </p:sp>
      <p:sp>
        <p:nvSpPr>
          <p:cNvPr id="13" name="TextBox 1">
            <a:extLst>
              <a:ext uri="{FF2B5EF4-FFF2-40B4-BE49-F238E27FC236}">
                <a16:creationId xmlns:a16="http://schemas.microsoft.com/office/drawing/2014/main" id="{086D5359-89EA-424A-B727-796D7F2C20C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gray">
          <a:xfrm>
            <a:off x="336947" y="6475935"/>
            <a:ext cx="2356625" cy="3868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sz="9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parkassen-Finanzgruppe</a:t>
            </a:r>
          </a:p>
        </p:txBody>
      </p:sp>
      <p:pic>
        <p:nvPicPr>
          <p:cNvPr id="40" name="Picture 2">
            <a:extLst>
              <a:ext uri="{FF2B5EF4-FFF2-40B4-BE49-F238E27FC236}">
                <a16:creationId xmlns:a16="http://schemas.microsoft.com/office/drawing/2014/main" id="{6F9AE56F-9420-4D2E-91F5-0A1314ECC7AC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266238" y="6165304"/>
            <a:ext cx="2591989" cy="418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</p:pic>
      <p:grpSp>
        <p:nvGrpSpPr>
          <p:cNvPr id="2" name="Grafik 38">
            <a:extLst>
              <a:ext uri="{FF2B5EF4-FFF2-40B4-BE49-F238E27FC236}">
                <a16:creationId xmlns:a16="http://schemas.microsoft.com/office/drawing/2014/main" id="{75A4F903-279D-4940-8B93-287A97F96B3B}"/>
              </a:ext>
            </a:extLst>
          </p:cNvPr>
          <p:cNvGrpSpPr/>
          <p:nvPr/>
        </p:nvGrpSpPr>
        <p:grpSpPr>
          <a:xfrm>
            <a:off x="11426227" y="332656"/>
            <a:ext cx="432000" cy="432000"/>
            <a:chOff x="11426227" y="332656"/>
            <a:chExt cx="432000" cy="432000"/>
          </a:xfrm>
        </p:grpSpPr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4C3EFEB1-0279-4D6D-B826-801A28C33AE2}"/>
                </a:ext>
              </a:extLst>
            </p:cNvPr>
            <p:cNvSpPr/>
            <p:nvPr/>
          </p:nvSpPr>
          <p:spPr>
            <a:xfrm>
              <a:off x="11426227" y="332656"/>
              <a:ext cx="432000" cy="432000"/>
            </a:xfrm>
            <a:custGeom>
              <a:avLst/>
              <a:gdLst>
                <a:gd name="connsiteX0" fmla="*/ 91325 w 432000"/>
                <a:gd name="connsiteY0" fmla="*/ 0 h 432000"/>
                <a:gd name="connsiteX1" fmla="*/ 0 w 432000"/>
                <a:gd name="connsiteY1" fmla="*/ 91325 h 432000"/>
                <a:gd name="connsiteX2" fmla="*/ 0 w 432000"/>
                <a:gd name="connsiteY2" fmla="*/ 340675 h 432000"/>
                <a:gd name="connsiteX3" fmla="*/ 91325 w 432000"/>
                <a:gd name="connsiteY3" fmla="*/ 432000 h 432000"/>
                <a:gd name="connsiteX4" fmla="*/ 340675 w 432000"/>
                <a:gd name="connsiteY4" fmla="*/ 432000 h 432000"/>
                <a:gd name="connsiteX5" fmla="*/ 432000 w 432000"/>
                <a:gd name="connsiteY5" fmla="*/ 340675 h 432000"/>
                <a:gd name="connsiteX6" fmla="*/ 432000 w 432000"/>
                <a:gd name="connsiteY6" fmla="*/ 91325 h 432000"/>
                <a:gd name="connsiteX7" fmla="*/ 340675 w 432000"/>
                <a:gd name="connsiteY7" fmla="*/ 0 h 432000"/>
                <a:gd name="connsiteX8" fmla="*/ 91325 w 432000"/>
                <a:gd name="connsiteY8" fmla="*/ 0 h 43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2000" h="432000">
                  <a:moveTo>
                    <a:pt x="91325" y="0"/>
                  </a:moveTo>
                  <a:cubicBezTo>
                    <a:pt x="40867" y="0"/>
                    <a:pt x="0" y="40867"/>
                    <a:pt x="0" y="91325"/>
                  </a:cubicBezTo>
                  <a:lnTo>
                    <a:pt x="0" y="340675"/>
                  </a:lnTo>
                  <a:cubicBezTo>
                    <a:pt x="0" y="391090"/>
                    <a:pt x="40867" y="432000"/>
                    <a:pt x="91325" y="432000"/>
                  </a:cubicBezTo>
                  <a:lnTo>
                    <a:pt x="340675" y="432000"/>
                  </a:lnTo>
                  <a:cubicBezTo>
                    <a:pt x="391090" y="432000"/>
                    <a:pt x="432000" y="391133"/>
                    <a:pt x="432000" y="340675"/>
                  </a:cubicBezTo>
                  <a:lnTo>
                    <a:pt x="432000" y="91325"/>
                  </a:lnTo>
                  <a:cubicBezTo>
                    <a:pt x="432000" y="40867"/>
                    <a:pt x="391133" y="0"/>
                    <a:pt x="340675" y="0"/>
                  </a:cubicBezTo>
                  <a:lnTo>
                    <a:pt x="91325" y="0"/>
                  </a:lnTo>
                  <a:close/>
                </a:path>
              </a:pathLst>
            </a:custGeom>
            <a:solidFill>
              <a:srgbClr val="FF0000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B96080EA-DE9A-4146-9378-2E413161ADA9}"/>
                </a:ext>
              </a:extLst>
            </p:cNvPr>
            <p:cNvSpPr/>
            <p:nvPr/>
          </p:nvSpPr>
          <p:spPr>
            <a:xfrm>
              <a:off x="11726078" y="448000"/>
              <a:ext cx="67219" cy="67219"/>
            </a:xfrm>
            <a:custGeom>
              <a:avLst/>
              <a:gdLst>
                <a:gd name="connsiteX0" fmla="*/ 33610 w 67219"/>
                <a:gd name="connsiteY0" fmla="*/ 67219 h 67219"/>
                <a:gd name="connsiteX1" fmla="*/ 67219 w 67219"/>
                <a:gd name="connsiteY1" fmla="*/ 33610 h 67219"/>
                <a:gd name="connsiteX2" fmla="*/ 33610 w 67219"/>
                <a:gd name="connsiteY2" fmla="*/ 0 h 67219"/>
                <a:gd name="connsiteX3" fmla="*/ 0 w 67219"/>
                <a:gd name="connsiteY3" fmla="*/ 33610 h 67219"/>
                <a:gd name="connsiteX4" fmla="*/ 33610 w 67219"/>
                <a:gd name="connsiteY4" fmla="*/ 67219 h 67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219" h="67219">
                  <a:moveTo>
                    <a:pt x="33610" y="67219"/>
                  </a:moveTo>
                  <a:cubicBezTo>
                    <a:pt x="52186" y="67219"/>
                    <a:pt x="67219" y="52186"/>
                    <a:pt x="67219" y="33610"/>
                  </a:cubicBezTo>
                  <a:cubicBezTo>
                    <a:pt x="67219" y="15034"/>
                    <a:pt x="52186" y="0"/>
                    <a:pt x="33610" y="0"/>
                  </a:cubicBezTo>
                  <a:cubicBezTo>
                    <a:pt x="15034" y="0"/>
                    <a:pt x="0" y="15034"/>
                    <a:pt x="0" y="33610"/>
                  </a:cubicBezTo>
                  <a:cubicBezTo>
                    <a:pt x="0" y="52186"/>
                    <a:pt x="15034" y="67219"/>
                    <a:pt x="33610" y="67219"/>
                  </a:cubicBezTo>
                </a:path>
              </a:pathLst>
            </a:custGeom>
            <a:solidFill>
              <a:srgbClr val="FFFFFF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507AE66C-EC51-4B6C-8668-2AC27B8A5D75}"/>
                </a:ext>
              </a:extLst>
            </p:cNvPr>
            <p:cNvSpPr/>
            <p:nvPr/>
          </p:nvSpPr>
          <p:spPr>
            <a:xfrm>
              <a:off x="11586585" y="448000"/>
              <a:ext cx="199843" cy="316656"/>
            </a:xfrm>
            <a:custGeom>
              <a:avLst/>
              <a:gdLst>
                <a:gd name="connsiteX0" fmla="*/ 121781 w 199843"/>
                <a:gd name="connsiteY0" fmla="*/ 2074 h 316656"/>
                <a:gd name="connsiteX1" fmla="*/ 91282 w 199843"/>
                <a:gd name="connsiteY1" fmla="*/ 0 h 316656"/>
                <a:gd name="connsiteX2" fmla="*/ 22205 w 199843"/>
                <a:gd name="connsiteY2" fmla="*/ 67565 h 316656"/>
                <a:gd name="connsiteX3" fmla="*/ 22205 w 199843"/>
                <a:gd name="connsiteY3" fmla="*/ 100397 h 316656"/>
                <a:gd name="connsiteX4" fmla="*/ 0 w 199843"/>
                <a:gd name="connsiteY4" fmla="*/ 100397 h 316656"/>
                <a:gd name="connsiteX5" fmla="*/ 0 w 199843"/>
                <a:gd name="connsiteY5" fmla="*/ 144374 h 316656"/>
                <a:gd name="connsiteX6" fmla="*/ 22118 w 199843"/>
                <a:gd name="connsiteY6" fmla="*/ 144374 h 316656"/>
                <a:gd name="connsiteX7" fmla="*/ 22118 w 199843"/>
                <a:gd name="connsiteY7" fmla="*/ 316656 h 316656"/>
                <a:gd name="connsiteX8" fmla="*/ 78192 w 199843"/>
                <a:gd name="connsiteY8" fmla="*/ 316656 h 316656"/>
                <a:gd name="connsiteX9" fmla="*/ 78192 w 199843"/>
                <a:gd name="connsiteY9" fmla="*/ 144331 h 316656"/>
                <a:gd name="connsiteX10" fmla="*/ 144418 w 199843"/>
                <a:gd name="connsiteY10" fmla="*/ 144331 h 316656"/>
                <a:gd name="connsiteX11" fmla="*/ 144418 w 199843"/>
                <a:gd name="connsiteY11" fmla="*/ 316656 h 316656"/>
                <a:gd name="connsiteX12" fmla="*/ 199843 w 199843"/>
                <a:gd name="connsiteY12" fmla="*/ 316656 h 316656"/>
                <a:gd name="connsiteX13" fmla="*/ 199843 w 199843"/>
                <a:gd name="connsiteY13" fmla="*/ 100397 h 316656"/>
                <a:gd name="connsiteX14" fmla="*/ 77890 w 199843"/>
                <a:gd name="connsiteY14" fmla="*/ 100397 h 316656"/>
                <a:gd name="connsiteX15" fmla="*/ 77890 w 199843"/>
                <a:gd name="connsiteY15" fmla="*/ 74520 h 316656"/>
                <a:gd name="connsiteX16" fmla="*/ 106790 w 199843"/>
                <a:gd name="connsiteY16" fmla="*/ 42768 h 316656"/>
                <a:gd name="connsiteX17" fmla="*/ 121824 w 199843"/>
                <a:gd name="connsiteY17" fmla="*/ 43762 h 316656"/>
                <a:gd name="connsiteX18" fmla="*/ 121781 w 199843"/>
                <a:gd name="connsiteY18" fmla="*/ 2074 h 316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9843" h="316656">
                  <a:moveTo>
                    <a:pt x="121781" y="2074"/>
                  </a:moveTo>
                  <a:cubicBezTo>
                    <a:pt x="112709" y="864"/>
                    <a:pt x="103118" y="0"/>
                    <a:pt x="91282" y="0"/>
                  </a:cubicBezTo>
                  <a:cubicBezTo>
                    <a:pt x="49378" y="0"/>
                    <a:pt x="22205" y="21989"/>
                    <a:pt x="22205" y="67565"/>
                  </a:cubicBezTo>
                  <a:lnTo>
                    <a:pt x="22205" y="100397"/>
                  </a:lnTo>
                  <a:lnTo>
                    <a:pt x="0" y="100397"/>
                  </a:lnTo>
                  <a:lnTo>
                    <a:pt x="0" y="144374"/>
                  </a:lnTo>
                  <a:lnTo>
                    <a:pt x="22118" y="144374"/>
                  </a:lnTo>
                  <a:lnTo>
                    <a:pt x="22118" y="316656"/>
                  </a:lnTo>
                  <a:lnTo>
                    <a:pt x="78192" y="316656"/>
                  </a:lnTo>
                  <a:lnTo>
                    <a:pt x="78192" y="144331"/>
                  </a:lnTo>
                  <a:lnTo>
                    <a:pt x="144418" y="144331"/>
                  </a:lnTo>
                  <a:lnTo>
                    <a:pt x="144418" y="316656"/>
                  </a:lnTo>
                  <a:lnTo>
                    <a:pt x="199843" y="316656"/>
                  </a:lnTo>
                  <a:lnTo>
                    <a:pt x="199843" y="100397"/>
                  </a:lnTo>
                  <a:lnTo>
                    <a:pt x="77890" y="100397"/>
                  </a:lnTo>
                  <a:lnTo>
                    <a:pt x="77890" y="74520"/>
                  </a:lnTo>
                  <a:cubicBezTo>
                    <a:pt x="77890" y="50933"/>
                    <a:pt x="87653" y="42768"/>
                    <a:pt x="106790" y="42768"/>
                  </a:cubicBezTo>
                  <a:cubicBezTo>
                    <a:pt x="112147" y="42768"/>
                    <a:pt x="116726" y="43157"/>
                    <a:pt x="121824" y="43762"/>
                  </a:cubicBezTo>
                  <a:lnTo>
                    <a:pt x="121781" y="2074"/>
                  </a:lnTo>
                  <a:close/>
                </a:path>
              </a:pathLst>
            </a:custGeom>
            <a:solidFill>
              <a:srgbClr val="FFFFFF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16801133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v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A2944FC-8B89-45A6-BF24-F8E168DAB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6426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A2944FC-8B89-45A6-BF24-F8E168DAB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89275" y="0"/>
            <a:ext cx="2592288" cy="594995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288000" tIns="1627200" rIns="288000" bIns="288000" anchor="t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2000" b="1" baseline="0">
                <a:solidFill>
                  <a:srgbClr val="444B52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tabLst>
                <a:tab pos="8064000" algn="r"/>
              </a:tabLst>
              <a:defRPr sz="2000" b="1"/>
            </a:lvl2pPr>
            <a:lvl3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 sz="2000" b="1"/>
            </a:lvl3pPr>
            <a:lvl4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 sz="2000" b="1"/>
            </a:lvl4pPr>
            <a:lvl5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 sz="2000" b="1"/>
            </a:lvl5pPr>
            <a:lvl6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 sz="2000" b="1"/>
            </a:lvl6pPr>
            <a:lvl7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 sz="2000" b="1"/>
            </a:lvl7pPr>
            <a:lvl8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 sz="2000" b="1"/>
            </a:lvl8pPr>
            <a:lvl9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 sz="2000" b="1"/>
            </a:lvl9pPr>
          </a:lstStyle>
          <a:p>
            <a:pPr lvl="0"/>
            <a:r>
              <a:rPr lang="de-DE" dirty="0"/>
              <a:t>1. Punkt</a:t>
            </a:r>
          </a:p>
        </p:txBody>
      </p:sp>
      <p:sp>
        <p:nvSpPr>
          <p:cNvPr id="21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313611" y="0"/>
            <a:ext cx="2592288" cy="594995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288000" tIns="1627200" rIns="288000" bIns="288000" anchor="t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2000" b="1" baseline="0">
                <a:solidFill>
                  <a:srgbClr val="444B52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tabLst>
                <a:tab pos="8064000" algn="r"/>
              </a:tabLst>
              <a:defRPr sz="2000" b="1"/>
            </a:lvl2pPr>
            <a:lvl3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 sz="2000" b="1"/>
            </a:lvl3pPr>
            <a:lvl4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 sz="2000" b="1"/>
            </a:lvl4pPr>
            <a:lvl5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 sz="2000" b="1"/>
            </a:lvl5pPr>
            <a:lvl6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 sz="2000" b="1"/>
            </a:lvl6pPr>
            <a:lvl7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 sz="2000" b="1"/>
            </a:lvl7pPr>
            <a:lvl8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 sz="2000" b="1"/>
            </a:lvl8pPr>
            <a:lvl9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 sz="2000" b="1"/>
            </a:lvl9pPr>
          </a:lstStyle>
          <a:p>
            <a:pPr lvl="0"/>
            <a:r>
              <a:rPr lang="de-DE" dirty="0"/>
              <a:t>2. Punkt</a:t>
            </a:r>
          </a:p>
        </p:txBody>
      </p:sp>
      <p:sp>
        <p:nvSpPr>
          <p:cNvPr id="23" name="Textplatzhalter 1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265939" y="0"/>
            <a:ext cx="2592686" cy="594995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288000" tIns="1627200" rIns="288000" bIns="288000" anchor="t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2000" b="1">
                <a:solidFill>
                  <a:srgbClr val="444B52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tabLst>
                <a:tab pos="8064000" algn="r"/>
              </a:tabLst>
              <a:defRPr sz="2000" b="1"/>
            </a:lvl2pPr>
            <a:lvl3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 sz="2000" b="1"/>
            </a:lvl3pPr>
            <a:lvl4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 sz="2000" b="1"/>
            </a:lvl4pPr>
            <a:lvl5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 sz="2000" b="1"/>
            </a:lvl5pPr>
            <a:lvl6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 sz="2000" b="1"/>
            </a:lvl6pPr>
            <a:lvl7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 sz="2000" b="1"/>
            </a:lvl7pPr>
            <a:lvl8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 sz="2000" b="1"/>
            </a:lvl8pPr>
            <a:lvl9pPr marL="0" indent="0" algn="r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 sz="2000" b="1"/>
            </a:lvl9pPr>
          </a:lstStyle>
          <a:p>
            <a:pPr lvl="0"/>
            <a:r>
              <a:rPr lang="de-DE" dirty="0"/>
              <a:t>3. Punk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38227" y="332656"/>
            <a:ext cx="2591008" cy="936000"/>
          </a:xfrm>
        </p:spPr>
        <p:txBody>
          <a:bodyPr vert="horz" lIns="0" tIns="0" rIns="0" bIns="36000" rtlCol="0" anchor="b" anchorCtr="0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Agenda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 rot="5400000">
            <a:off x="4945563" y="5013950"/>
            <a:ext cx="936000" cy="936000"/>
          </a:xfrm>
          <a:prstGeom prst="bracketPair">
            <a:avLst>
              <a:gd name="adj" fmla="val 0"/>
            </a:avLst>
          </a:prstGeom>
          <a:ln w="6350">
            <a:gradFill flip="none" rotWithShape="1">
              <a:gsLst>
                <a:gs pos="5000">
                  <a:schemeClr val="tx1">
                    <a:alpha val="0"/>
                  </a:schemeClr>
                </a:gs>
                <a:gs pos="95000">
                  <a:schemeClr val="tx1"/>
                </a:gs>
              </a:gsLst>
              <a:lin ang="10800000" scaled="1"/>
              <a:tileRect/>
            </a:gradFill>
          </a:ln>
        </p:spPr>
        <p:txBody>
          <a:bodyPr vert="vert270" lIns="0" tIns="0" rIns="0" bIns="0" anchor="ctr"/>
          <a:lstStyle>
            <a:lvl1pPr marL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4400" b="1" dirty="0">
                <a:solidFill>
                  <a:schemeClr val="tx1"/>
                </a:solidFill>
              </a:defRPr>
            </a:lvl1pPr>
            <a:lvl2pPr marL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9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8" hasCustomPrompt="1"/>
          </p:nvPr>
        </p:nvSpPr>
        <p:spPr bwMode="gray">
          <a:xfrm rot="5400000">
            <a:off x="7969899" y="5013950"/>
            <a:ext cx="936000" cy="936000"/>
          </a:xfrm>
          <a:prstGeom prst="bracketPair">
            <a:avLst>
              <a:gd name="adj" fmla="val 0"/>
            </a:avLst>
          </a:prstGeom>
          <a:ln w="6350">
            <a:gradFill flip="none" rotWithShape="1">
              <a:gsLst>
                <a:gs pos="5000">
                  <a:schemeClr val="tx1">
                    <a:alpha val="0"/>
                  </a:schemeClr>
                </a:gs>
                <a:gs pos="95000">
                  <a:schemeClr val="tx1"/>
                </a:gs>
              </a:gsLst>
              <a:lin ang="10800000" scaled="1"/>
              <a:tileRect/>
            </a:gradFill>
          </a:ln>
        </p:spPr>
        <p:txBody>
          <a:bodyPr vert="vert270" lIns="0" tIns="0" rIns="0" bIns="0" anchor="ctr"/>
          <a:lstStyle>
            <a:lvl1pPr marL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4400" b="1" dirty="0">
                <a:solidFill>
                  <a:schemeClr val="tx1"/>
                </a:solidFill>
              </a:defRPr>
            </a:lvl1pPr>
            <a:lvl2pPr marL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9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0" hasCustomPrompt="1"/>
          </p:nvPr>
        </p:nvSpPr>
        <p:spPr bwMode="gray">
          <a:xfrm rot="5400000">
            <a:off x="10922625" y="5013950"/>
            <a:ext cx="936000" cy="936000"/>
          </a:xfrm>
          <a:prstGeom prst="bracketPair">
            <a:avLst>
              <a:gd name="adj" fmla="val 0"/>
            </a:avLst>
          </a:prstGeom>
          <a:ln w="6350">
            <a:gradFill flip="none" rotWithShape="1">
              <a:gsLst>
                <a:gs pos="5000">
                  <a:schemeClr val="tx1">
                    <a:alpha val="0"/>
                  </a:schemeClr>
                </a:gs>
                <a:gs pos="95000">
                  <a:schemeClr val="tx1"/>
                </a:gs>
              </a:gsLst>
              <a:lin ang="10800000" scaled="1"/>
              <a:tileRect/>
            </a:gradFill>
          </a:ln>
        </p:spPr>
        <p:txBody>
          <a:bodyPr vert="vert270" lIns="0" tIns="0" rIns="0" bIns="0" anchor="ctr"/>
          <a:lstStyle>
            <a:lvl1pPr marL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4400" b="1" dirty="0">
                <a:solidFill>
                  <a:schemeClr val="tx1"/>
                </a:solidFill>
              </a:defRPr>
            </a:lvl1pPr>
            <a:lvl2pPr marL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9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E933A47D-C0EC-4591-96B0-F2017D647B03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9E1ABEE8-393B-42E2-88E1-EB4E867C4D78}" type="datetime1">
              <a:rPr lang="de-DE" smtClean="0"/>
              <a:t>18.12.2024</a:t>
            </a:fld>
            <a:endParaRPr lang="de-DE" dirty="0"/>
          </a:p>
        </p:txBody>
      </p:sp>
      <p:sp>
        <p:nvSpPr>
          <p:cNvPr id="36" name="Foliennummernplatzhalter 35">
            <a:extLst>
              <a:ext uri="{FF2B5EF4-FFF2-40B4-BE49-F238E27FC236}">
                <a16:creationId xmlns:a16="http://schemas.microsoft.com/office/drawing/2014/main" id="{0EE968FB-CA12-480E-8B1E-5032960225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3463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724F50B-C5BF-4436-989E-64C3A41D1A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9622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724F50B-C5BF-4436-989E-64C3A41D1A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2FB1052-8F3C-4BC0-8AD3-AF4C5B9AE4F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0"/>
            <a:ext cx="2929587" cy="594995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FB1165CF-5E09-454E-B5BC-F336A18FD8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89587" y="1917000"/>
            <a:ext cx="8568000" cy="403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>
              <a:spcBef>
                <a:spcPts val="800"/>
              </a:spcBef>
              <a:spcAft>
                <a:spcPts val="400"/>
              </a:spcAft>
              <a:defRPr lang="de-DE" sz="2800" dirty="0" smtClean="0"/>
            </a:lvl1pPr>
            <a:lvl2pPr marL="0">
              <a:spcBef>
                <a:spcPts val="800"/>
              </a:spcBef>
              <a:spcAft>
                <a:spcPts val="400"/>
              </a:spcAft>
              <a:defRPr lang="de-DE" sz="2000" dirty="0" smtClean="0"/>
            </a:lvl2pPr>
            <a:lvl3pPr marL="180000" indent="-180000">
              <a:spcBef>
                <a:spcPts val="400"/>
              </a:spcBef>
              <a:spcAft>
                <a:spcPts val="200"/>
              </a:spcAft>
              <a:buClrTx/>
              <a:buFont typeface="Arial" panose="020B0604020202020204" pitchFamily="34" charset="0"/>
              <a:buChar char="•"/>
              <a:defRPr lang="de-DE" sz="2000" dirty="0" smtClean="0"/>
            </a:lvl3pPr>
            <a:lvl4pPr marL="360000" indent="-180000"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lang="de-DE" sz="2000" dirty="0" smtClean="0"/>
            </a:lvl4pPr>
            <a:lvl5pPr marL="360000" indent="-180000"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lang="de-DE" sz="2000" dirty="0" smtClean="0"/>
            </a:lvl5pPr>
            <a:lvl6pPr marL="360000" indent="-180000"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lang="de-DE" sz="2000" dirty="0" smtClean="0"/>
            </a:lvl6pPr>
            <a:lvl7pPr marL="360000" indent="-180000"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lang="de-DE" sz="2000" dirty="0" smtClean="0"/>
            </a:lvl7pPr>
            <a:lvl8pPr marL="360000" indent="-180000"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lang="de-DE" sz="2000" dirty="0" smtClean="0"/>
            </a:lvl8pPr>
            <a:lvl9pPr marL="360000" indent="-180000"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Char char="-"/>
              <a:defRPr lang="de-DE" sz="2000" dirty="0"/>
            </a:lvl9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4">
            <a:extLst>
              <a:ext uri="{FF2B5EF4-FFF2-40B4-BE49-F238E27FC236}">
                <a16:creationId xmlns:a16="http://schemas.microsoft.com/office/drawing/2014/main" id="{2A348B56-260D-4C71-94FC-5234430A3C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993235" y="692800"/>
            <a:ext cx="936000" cy="936000"/>
          </a:xfrm>
          <a:prstGeom prst="rect">
            <a:avLst/>
          </a:prstGeom>
          <a:noFill/>
          <a:ln w="6350">
            <a:noFill/>
          </a:ln>
        </p:spPr>
        <p:txBody>
          <a:bodyPr vert="horz" wrap="none" lIns="288000" tIns="0" rIns="288000" bIns="36000" rtlCol="0" anchor="ctr">
            <a:noAutofit/>
          </a:bodyPr>
          <a:lstStyle>
            <a:lvl1pPr algn="r">
              <a:tabLst/>
              <a:defRPr lang="de-DE" sz="4400" b="1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CDBAE7-6ED9-43DC-AFDC-F3340BF5345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ADE4002-D85E-4AEB-855D-EF71B1B02CC4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F6D0A24-11E9-4F12-8E91-FB8EEB704AE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48B381A-48AC-4988-B1E9-7CE46E0DFA2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5400000">
            <a:off x="2425585" y="1124999"/>
            <a:ext cx="72000" cy="936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2">
                    <a:alpha val="0"/>
                  </a:schemeClr>
                </a:gs>
                <a:gs pos="90000">
                  <a:schemeClr val="tx2"/>
                </a:gs>
              </a:gsLst>
              <a:lin ang="0" scaled="0"/>
              <a:tileRect/>
            </a:gradFill>
          </a:ln>
        </p:spPr>
        <p:txBody>
          <a:bodyPr vert="vert270" wrap="none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lang="de-DE" sz="200" dirty="0" smtClean="0">
                <a:solidFill>
                  <a:schemeClr val="tx2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lang="de-DE" sz="200" dirty="0" smtClean="0">
                <a:solidFill>
                  <a:schemeClr val="tx2"/>
                </a:solidFill>
                <a:latin typeface="+mn-lt"/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lang="de-DE" sz="200" dirty="0" smtClean="0">
                <a:solidFill>
                  <a:schemeClr val="tx2"/>
                </a:solidFill>
                <a:latin typeface="+mn-lt"/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lang="de-DE" sz="200" dirty="0" smtClean="0">
                <a:solidFill>
                  <a:schemeClr val="tx2"/>
                </a:solidFill>
                <a:latin typeface="+mn-lt"/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lang="de-DE" sz="200" dirty="0">
                <a:solidFill>
                  <a:schemeClr val="tx2"/>
                </a:solidFill>
                <a:latin typeface="+mn-lt"/>
              </a:defRPr>
            </a:lvl5pPr>
          </a:lstStyle>
          <a:p>
            <a:pPr lvl="0" algn="r">
              <a:spcBef>
                <a:spcPct val="0"/>
              </a:spcBef>
              <a:tabLst/>
            </a:pP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451088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692E957-761F-446E-BBCD-8AFD4E89C8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3214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8">
            <a:extLst>
              <a:ext uri="{FF2B5EF4-FFF2-40B4-BE49-F238E27FC236}">
                <a16:creationId xmlns:a16="http://schemas.microsoft.com/office/drawing/2014/main" id="{3BFC099A-416E-44A0-9DEE-52DFFFD568D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3"/>
            <a:r>
              <a:rPr lang="de-DE" dirty="0"/>
              <a:t>Quellenangab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DA8FBBB-5DDC-42D7-B3CF-C81C9528E5D6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52DAED34-23B6-4BE4-923D-5B1AB9E0B21D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83C182-9F76-4D78-8BBE-B35309C8EF3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04231747-579C-4216-B56F-A74F3A522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Titel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180399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9096C31-3131-41A1-8BF0-33B4F05561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6940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CF4427A-211E-4825-9E49-41E609226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" y="0"/>
            <a:ext cx="2929587" cy="5949950"/>
          </a:xfrm>
          <a:solidFill>
            <a:schemeClr val="bg2"/>
          </a:solidFill>
          <a:ln>
            <a:noFill/>
          </a:ln>
        </p:spPr>
        <p:txBody>
          <a:bodyPr vert="horz" lIns="338400" tIns="252000" rIns="144000" bIns="0" rtlCol="0" anchor="t" anchorCtr="0">
            <a:noAutofit/>
          </a:bodyPr>
          <a:lstStyle>
            <a:lvl1pPr>
              <a:defRPr lang="en-US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Titel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414A05-581C-4BBF-843A-EF06B4C6D284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748E45AA-F926-4073-8D81-2E768D9BE94E}" type="datetime1">
              <a:rPr lang="de-DE" smtClean="0">
                <a:latin typeface="+mj-lt"/>
              </a:rPr>
              <a:t>18.12.2024</a:t>
            </a:fld>
            <a:endParaRPr lang="de-DE" dirty="0">
              <a:latin typeface="+mj-lt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028CE62-179A-4485-902F-18C709D7B13D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>
              <a:latin typeface="+mj-lt"/>
            </a:endParaRPr>
          </a:p>
        </p:txBody>
      </p:sp>
      <p:sp>
        <p:nvSpPr>
          <p:cNvPr id="8" name="!!Quelleplatzhalter">
            <a:extLst>
              <a:ext uri="{FF2B5EF4-FFF2-40B4-BE49-F238E27FC236}">
                <a16:creationId xmlns:a16="http://schemas.microsoft.com/office/drawing/2014/main" id="{8FDFDC5E-5A7C-478C-AD13-845927B05D1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3"/>
            <a:r>
              <a:rPr lang="de-DE" dirty="0"/>
              <a:t>Quellenangaben</a:t>
            </a:r>
          </a:p>
        </p:txBody>
      </p:sp>
    </p:spTree>
    <p:extLst>
      <p:ext uri="{BB962C8B-B14F-4D97-AF65-F5344CB8AC3E}">
        <p14:creationId xmlns:p14="http://schemas.microsoft.com/office/powerpoint/2010/main" val="180407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0" userDrawn="1">
          <p15:clr>
            <a:srgbClr val="FBAE40"/>
          </p15:clr>
        </p15:guide>
        <p15:guide id="2" pos="207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3051F-5CCC-4B0F-A751-C70FD0BFE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2947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3051F-5CCC-4B0F-A751-C70FD0BFE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!!Quelle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D038D9F-9CB7-4B4A-ACFF-3BA996E712D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89E54C2C-D6D2-4862-BF48-748A9E48C7D6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4D5D41-693B-4E88-86B1-3EADCF728CE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FE3A6FB-0C3A-4870-B34E-66BEDBAAF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947" y="333000"/>
            <a:ext cx="8568640" cy="935760"/>
          </a:xfrm>
        </p:spPr>
        <p:txBody>
          <a:bodyPr vert="horz"/>
          <a:lstStyle/>
          <a:p>
            <a:r>
              <a:rPr lang="de-DE" dirty="0"/>
              <a:t>Titelformat durch Klicken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6343793-538F-4FA2-81CD-D590D20537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266238" y="0"/>
            <a:ext cx="2928937" cy="5949950"/>
          </a:xfrm>
          <a:solidFill>
            <a:schemeClr val="bg2"/>
          </a:solidFill>
        </p:spPr>
        <p:txBody>
          <a:bodyPr lIns="288000" tIns="1627200" rIns="288000" bIns="14400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388034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93874CA-5461-445D-9129-8C2944C9FF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0172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el 1">
            <a:extLst>
              <a:ext uri="{FF2B5EF4-FFF2-40B4-BE49-F238E27FC236}">
                <a16:creationId xmlns:a16="http://schemas.microsoft.com/office/drawing/2014/main" id="{E0789BD5-7065-4BD6-950D-D27DDFC53B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947" y="333000"/>
            <a:ext cx="11521280" cy="935760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Titelformat durch Klicken bearbeiten</a:t>
            </a:r>
          </a:p>
        </p:txBody>
      </p:sp>
      <p:sp>
        <p:nvSpPr>
          <p:cNvPr id="18" name="Inhaltsplatzhalter 16">
            <a:extLst>
              <a:ext uri="{FF2B5EF4-FFF2-40B4-BE49-F238E27FC236}">
                <a16:creationId xmlns:a16="http://schemas.microsoft.com/office/drawing/2014/main" id="{835F97C9-1A71-4B7B-B0FD-2161E9E9E0B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6550" y="1630800"/>
            <a:ext cx="11520000" cy="432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FD25318-6672-4CC5-986C-0C31F0C8640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4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1C67E1-FBCD-48BC-AA33-C8701598E14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A551FA43-A846-4D19-9E60-13E21C242C75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5D2A09-0A26-4DAE-84B9-05BF28E2772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29683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D623EA1-8E1E-4B10-A518-866110E5A8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1511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el 1">
            <a:extLst>
              <a:ext uri="{FF2B5EF4-FFF2-40B4-BE49-F238E27FC236}">
                <a16:creationId xmlns:a16="http://schemas.microsoft.com/office/drawing/2014/main" id="{E0789BD5-7065-4BD6-950D-D27DDFC53B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2929587" cy="5949950"/>
          </a:xfrm>
          <a:solidFill>
            <a:schemeClr val="bg2"/>
          </a:solidFill>
        </p:spPr>
        <p:txBody>
          <a:bodyPr vert="horz" lIns="342000" tIns="15984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format durch Klicken bearbeiten</a:t>
            </a:r>
          </a:p>
        </p:txBody>
      </p:sp>
      <p:sp>
        <p:nvSpPr>
          <p:cNvPr id="18" name="Inhaltsplatzhalter 16">
            <a:extLst>
              <a:ext uri="{FF2B5EF4-FFF2-40B4-BE49-F238E27FC236}">
                <a16:creationId xmlns:a16="http://schemas.microsoft.com/office/drawing/2014/main" id="{835F97C9-1A71-4B7B-B0FD-2161E9E9E0B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289587" y="1629000"/>
            <a:ext cx="8569038" cy="43209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FD25318-6672-4CC5-986C-0C31F0C8640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4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1C67E1-FBCD-48BC-AA33-C8701598E14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F582DFFF-BF29-469E-AA8A-6BFA523D3C86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5D2A09-0A26-4DAE-84B9-05BF28E2772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Textplatzhalter 17">
            <a:extLst>
              <a:ext uri="{FF2B5EF4-FFF2-40B4-BE49-F238E27FC236}">
                <a16:creationId xmlns:a16="http://schemas.microsoft.com/office/drawing/2014/main" id="{7F4CC6C5-48E3-4815-AEC4-A61315D7B5C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 rot="5400000">
            <a:off x="-11663" y="416326"/>
            <a:ext cx="936336" cy="913011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2">
                    <a:alpha val="0"/>
                  </a:schemeClr>
                </a:gs>
                <a:gs pos="90000">
                  <a:schemeClr val="tx2"/>
                </a:gs>
              </a:gsLst>
              <a:lin ang="0" scaled="0"/>
              <a:tileRect/>
            </a:gradFill>
          </a:ln>
        </p:spPr>
        <p:txBody>
          <a:bodyPr vert="vert270" wrap="none" lIns="0" tIns="0" rIns="72000" bIns="342000" rtlCol="0"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4400" dirty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44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lang="de-DE" sz="44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lang="de-DE" sz="44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lang="de-DE" sz="44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lang="de-DE" sz="44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lang="de-DE" sz="44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lang="de-DE" sz="44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lang="de-DE" sz="4400" b="1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37930036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93874CA-5461-445D-9129-8C2944C9FF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836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93874CA-5461-445D-9129-8C2944C9FF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el 1">
            <a:extLst>
              <a:ext uri="{FF2B5EF4-FFF2-40B4-BE49-F238E27FC236}">
                <a16:creationId xmlns:a16="http://schemas.microsoft.com/office/drawing/2014/main" id="{E0789BD5-7065-4BD6-950D-D27DDFC53B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90311" y="333000"/>
            <a:ext cx="8567915" cy="935760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Titelformat durch Klicken bearbeiten</a:t>
            </a:r>
          </a:p>
        </p:txBody>
      </p:sp>
      <p:sp>
        <p:nvSpPr>
          <p:cNvPr id="18" name="Inhaltsplatzhalter 16">
            <a:extLst>
              <a:ext uri="{FF2B5EF4-FFF2-40B4-BE49-F238E27FC236}">
                <a16:creationId xmlns:a16="http://schemas.microsoft.com/office/drawing/2014/main" id="{835F97C9-1A71-4B7B-B0FD-2161E9E9E0B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289587" y="1629000"/>
            <a:ext cx="8566963" cy="432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FD25318-6672-4CC5-986C-0C31F0C8640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4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1C67E1-FBCD-48BC-AA33-C8701598E14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A47AD5DD-71F8-4311-884C-6F4E50C0FBC9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5D2A09-0A26-4DAE-84B9-05BF28E2772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A7A3A709-C44C-4C1D-9DB5-0078EC3B339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0" y="0"/>
            <a:ext cx="2928937" cy="5949950"/>
          </a:xfrm>
          <a:solidFill>
            <a:schemeClr val="bg2"/>
          </a:solidFill>
          <a:ln>
            <a:noFill/>
          </a:ln>
        </p:spPr>
        <p:txBody>
          <a:bodyPr vert="horz" lIns="338400" tIns="252000" rIns="144000" bIns="0" rtlCol="0" anchor="t" anchorCtr="0">
            <a:noAutofit/>
          </a:bodyPr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2800" b="1" dirty="0">
                <a:solidFill>
                  <a:schemeClr val="tx2"/>
                </a:solidFill>
                <a:latin typeface="+mj-lt"/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sz="28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Titel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2122527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21CF249-BAB5-4F26-9488-A6313F5AF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1732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think-cell Folie" r:id="rId6" imgW="415" imgH="416" progId="TCLayout.ActiveDocument.1">
                  <p:embed/>
                </p:oleObj>
              </mc:Choice>
              <mc:Fallback>
                <p:oleObj name="think-cell Foli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216B2FE-F98C-473C-A980-1AA39F3DEB17}"/>
              </a:ext>
            </a:extLst>
          </p:cNvPr>
          <p:cNvGrpSpPr/>
          <p:nvPr userDrawn="1"/>
        </p:nvGrpSpPr>
        <p:grpSpPr>
          <a:xfrm>
            <a:off x="336947" y="5229200"/>
            <a:ext cx="11858228" cy="720755"/>
            <a:chOff x="336947" y="5229200"/>
            <a:chExt cx="11858228" cy="720755"/>
          </a:xfrm>
        </p:grpSpPr>
        <p:grpSp>
          <p:nvGrpSpPr>
            <p:cNvPr id="24" name="Gruppieren 34">
              <a:extLst>
                <a:ext uri="{FF2B5EF4-FFF2-40B4-BE49-F238E27FC236}">
                  <a16:creationId xmlns:a16="http://schemas.microsoft.com/office/drawing/2014/main" id="{F94901A8-E899-4369-8B19-F7E5CD585A94}"/>
                </a:ext>
              </a:extLst>
            </p:cNvPr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336947" y="5229200"/>
              <a:ext cx="11858228" cy="720755"/>
              <a:chOff x="336947" y="5229200"/>
              <a:chExt cx="11858228" cy="720755"/>
            </a:xfrm>
          </p:grpSpPr>
          <p:sp>
            <p:nvSpPr>
              <p:cNvPr id="26" name="Abgerundetes Rechteck 4">
                <a:extLst>
                  <a:ext uri="{FF2B5EF4-FFF2-40B4-BE49-F238E27FC236}">
                    <a16:creationId xmlns:a16="http://schemas.microsoft.com/office/drawing/2014/main" id="{94B2EB2A-D1A3-415E-A035-892485563C87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 bwMode="gray">
              <a:xfrm>
                <a:off x="336947" y="5229200"/>
                <a:ext cx="11858228" cy="720080"/>
              </a:xfrm>
              <a:prstGeom prst="rect">
                <a:avLst/>
              </a:prstGeom>
              <a:solidFill>
                <a:srgbClr val="DDE0E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rgbClr val="4D4D4D"/>
                  </a:solidFill>
                  <a:latin typeface="+mj-lt"/>
                </a:endParaRPr>
              </a:p>
            </p:txBody>
          </p:sp>
          <p:sp>
            <p:nvSpPr>
              <p:cNvPr id="28" name="Ellipse 38">
                <a:extLst>
                  <a:ext uri="{FF2B5EF4-FFF2-40B4-BE49-F238E27FC236}">
                    <a16:creationId xmlns:a16="http://schemas.microsoft.com/office/drawing/2014/main" id="{8685AFB2-8407-46B0-BA09-97949B83C40E}"/>
                  </a:ext>
                </a:extLst>
              </p:cNvPr>
              <p:cNvSpPr/>
              <p:nvPr/>
            </p:nvSpPr>
            <p:spPr bwMode="gray">
              <a:xfrm>
                <a:off x="336995" y="5229203"/>
                <a:ext cx="576000" cy="720752"/>
              </a:xfrm>
              <a:prstGeom prst="rect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rgbClr val="4D4D4D"/>
                  </a:solidFill>
                  <a:latin typeface="+mj-lt"/>
                </a:endParaRPr>
              </a:p>
            </p:txBody>
          </p:sp>
        </p:grp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E0A45247-8EBC-4793-8949-9238433912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995" y="5409579"/>
              <a:ext cx="216000" cy="360000"/>
            </a:xfrm>
            <a:custGeom>
              <a:avLst/>
              <a:gdLst>
                <a:gd name="T0" fmla="*/ 648 w 682"/>
                <a:gd name="T1" fmla="*/ 649 h 1124"/>
                <a:gd name="T2" fmla="*/ 648 w 682"/>
                <a:gd name="T3" fmla="*/ 649 h 1124"/>
                <a:gd name="T4" fmla="*/ 682 w 682"/>
                <a:gd name="T5" fmla="*/ 567 h 1124"/>
                <a:gd name="T6" fmla="*/ 648 w 682"/>
                <a:gd name="T7" fmla="*/ 486 h 1124"/>
                <a:gd name="T8" fmla="*/ 648 w 682"/>
                <a:gd name="T9" fmla="*/ 486 h 1124"/>
                <a:gd name="T10" fmla="*/ 208 w 682"/>
                <a:gd name="T11" fmla="*/ 45 h 1124"/>
                <a:gd name="T12" fmla="*/ 44 w 682"/>
                <a:gd name="T13" fmla="*/ 45 h 1124"/>
                <a:gd name="T14" fmla="*/ 44 w 682"/>
                <a:gd name="T15" fmla="*/ 208 h 1124"/>
                <a:gd name="T16" fmla="*/ 403 w 682"/>
                <a:gd name="T17" fmla="*/ 567 h 1124"/>
                <a:gd name="T18" fmla="*/ 44 w 682"/>
                <a:gd name="T19" fmla="*/ 926 h 1124"/>
                <a:gd name="T20" fmla="*/ 44 w 682"/>
                <a:gd name="T21" fmla="*/ 1090 h 1124"/>
                <a:gd name="T22" fmla="*/ 126 w 682"/>
                <a:gd name="T23" fmla="*/ 1124 h 1124"/>
                <a:gd name="T24" fmla="*/ 208 w 682"/>
                <a:gd name="T25" fmla="*/ 1090 h 1124"/>
                <a:gd name="T26" fmla="*/ 648 w 682"/>
                <a:gd name="T27" fmla="*/ 649 h 1124"/>
                <a:gd name="T28" fmla="*/ 648 w 682"/>
                <a:gd name="T29" fmla="*/ 649 h 1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2" h="1124">
                  <a:moveTo>
                    <a:pt x="648" y="649"/>
                  </a:moveTo>
                  <a:lnTo>
                    <a:pt x="648" y="649"/>
                  </a:lnTo>
                  <a:cubicBezTo>
                    <a:pt x="671" y="627"/>
                    <a:pt x="682" y="597"/>
                    <a:pt x="682" y="567"/>
                  </a:cubicBezTo>
                  <a:cubicBezTo>
                    <a:pt x="682" y="538"/>
                    <a:pt x="671" y="508"/>
                    <a:pt x="648" y="486"/>
                  </a:cubicBezTo>
                  <a:cubicBezTo>
                    <a:pt x="648" y="486"/>
                    <a:pt x="648" y="486"/>
                    <a:pt x="648" y="486"/>
                  </a:cubicBezTo>
                  <a:lnTo>
                    <a:pt x="208" y="45"/>
                  </a:lnTo>
                  <a:cubicBezTo>
                    <a:pt x="163" y="0"/>
                    <a:pt x="89" y="0"/>
                    <a:pt x="44" y="45"/>
                  </a:cubicBezTo>
                  <a:cubicBezTo>
                    <a:pt x="0" y="90"/>
                    <a:pt x="0" y="163"/>
                    <a:pt x="44" y="208"/>
                  </a:cubicBezTo>
                  <a:lnTo>
                    <a:pt x="403" y="567"/>
                  </a:lnTo>
                  <a:lnTo>
                    <a:pt x="44" y="926"/>
                  </a:lnTo>
                  <a:cubicBezTo>
                    <a:pt x="0" y="971"/>
                    <a:pt x="0" y="1045"/>
                    <a:pt x="44" y="1090"/>
                  </a:cubicBezTo>
                  <a:cubicBezTo>
                    <a:pt x="67" y="1112"/>
                    <a:pt x="96" y="1124"/>
                    <a:pt x="126" y="1124"/>
                  </a:cubicBezTo>
                  <a:cubicBezTo>
                    <a:pt x="156" y="1124"/>
                    <a:pt x="185" y="1112"/>
                    <a:pt x="208" y="1090"/>
                  </a:cubicBezTo>
                  <a:lnTo>
                    <a:pt x="648" y="649"/>
                  </a:lnTo>
                  <a:cubicBezTo>
                    <a:pt x="648" y="649"/>
                    <a:pt x="648" y="649"/>
                    <a:pt x="648" y="649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Titelformat durch Klicken bearbeiten</a:t>
            </a:r>
          </a:p>
        </p:txBody>
      </p:sp>
      <p:sp>
        <p:nvSpPr>
          <p:cNvPr id="25" name="Inhaltsplatzhalter 16">
            <a:extLst>
              <a:ext uri="{FF2B5EF4-FFF2-40B4-BE49-F238E27FC236}">
                <a16:creationId xmlns:a16="http://schemas.microsoft.com/office/drawing/2014/main" id="{92761EEB-C502-4832-A6D4-65C16FD7D8E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6550" y="1628775"/>
            <a:ext cx="11520000" cy="324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3" name="Textplatzhalter 18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35" name="Textplatzhalter 8">
            <a:extLst>
              <a:ext uri="{FF2B5EF4-FFF2-40B4-BE49-F238E27FC236}">
                <a16:creationId xmlns:a16="http://schemas.microsoft.com/office/drawing/2014/main" id="{D0E758C6-B5EC-46B9-8584-9D026D2E605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7587" y="5229000"/>
            <a:ext cx="10800000" cy="720000"/>
          </a:xfrm>
        </p:spPr>
        <p:txBody>
          <a:bodyPr anchor="ctr"/>
          <a:lstStyle>
            <a:lvl1pPr>
              <a:spcBef>
                <a:spcPts val="0"/>
              </a:spcBef>
              <a:spcAft>
                <a:spcPts val="0"/>
              </a:spcAft>
              <a:defRPr sz="1800" baseline="0"/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lvl="0"/>
            <a:r>
              <a:rPr lang="de-DE" dirty="0"/>
              <a:t>Geben Sie hier den Fazit-Text ein.</a:t>
            </a:r>
            <a:br>
              <a:rPr lang="de-DE" dirty="0"/>
            </a:br>
            <a:r>
              <a:rPr lang="de-DE" dirty="0"/>
              <a:t>Verwenden Sie für die zweite Zeile die zweite Textebene.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E3C0F2F-75D7-4985-9DE5-13A15F344020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7DC98F64-7558-4A0E-BB02-96631FB8B9DF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BD437B-4D7C-4518-B262-BE242087A38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68985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EC64B52-8E9F-4995-AC12-EE293154C0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0784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2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dirty="0"/>
              <a:t>Titelformat durch Klicken bearbeiten</a:t>
            </a:r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7E4E01FD-FF4C-4B3E-91FB-5008486561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0"/>
            <a:r>
              <a:rPr lang="de-DE" dirty="0"/>
              <a:t>Quellenangaben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CDFECB5B-9F5F-42E4-A93A-D1ED18FAF552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6550" y="1629280"/>
            <a:ext cx="5544000" cy="432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Inhaltsplatzhalter 16">
            <a:extLst>
              <a:ext uri="{FF2B5EF4-FFF2-40B4-BE49-F238E27FC236}">
                <a16:creationId xmlns:a16="http://schemas.microsoft.com/office/drawing/2014/main" id="{05A63CF4-9552-4474-B286-B56EB279D431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314227" y="1629280"/>
            <a:ext cx="5544000" cy="432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ED126E8-8669-4236-BF46-400BF9D62493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86C28815-8429-4B49-9B68-6BE8C5B93065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CD03A00-8E45-4144-8481-F2047D72ECC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52638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intern/extern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6CD355B-1BFE-459B-B4A7-CBEE6B68F3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4762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6CD355B-1BFE-459B-B4A7-CBEE6B68F3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561083" y="3789040"/>
            <a:ext cx="5544616" cy="1584176"/>
          </a:xfrm>
          <a:prstGeom prst="rect">
            <a:avLst/>
          </a:prstGeom>
          <a:noFill/>
          <a:ln>
            <a:noFill/>
          </a:ln>
        </p:spPr>
        <p:txBody>
          <a:bodyPr wrap="square" lIns="0" tIns="216000" rIns="0" bIns="216000" rtlCol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9pPr>
          </a:lstStyle>
          <a:p>
            <a:pPr lvl="0"/>
            <a:r>
              <a:rPr lang="de-DE" dirty="0"/>
              <a:t>Untertitel der Präsentation</a:t>
            </a:r>
          </a:p>
        </p:txBody>
      </p:sp>
      <p:sp>
        <p:nvSpPr>
          <p:cNvPr id="38" name="Titel 37">
            <a:extLst>
              <a:ext uri="{FF2B5EF4-FFF2-40B4-BE49-F238E27FC236}">
                <a16:creationId xmlns:a16="http://schemas.microsoft.com/office/drawing/2014/main" id="{83E8E926-86FA-4FD1-AE0B-EF24CE1508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61083" y="1268760"/>
            <a:ext cx="5544616" cy="2520280"/>
          </a:xfrm>
          <a:noFill/>
          <a:ln>
            <a:noFill/>
          </a:ln>
        </p:spPr>
        <p:txBody>
          <a:bodyPr vert="horz" tIns="0" bIns="0"/>
          <a:lstStyle>
            <a:lvl1pPr>
              <a:defRPr sz="4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Titel der</a:t>
            </a:r>
            <a:br>
              <a:rPr lang="de-DE" dirty="0"/>
            </a:br>
            <a:r>
              <a:rPr lang="de-DE" dirty="0"/>
              <a:t>Präsentation</a:t>
            </a:r>
          </a:p>
        </p:txBody>
      </p:sp>
      <p:sp>
        <p:nvSpPr>
          <p:cNvPr id="7" name="TextBox 1">
            <a:extLst>
              <a:ext uri="{FF2B5EF4-FFF2-40B4-BE49-F238E27FC236}">
                <a16:creationId xmlns:a16="http://schemas.microsoft.com/office/drawing/2014/main" id="{B3BE05BF-EFCC-4C3A-869C-58FDAB260048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gray">
          <a:xfrm>
            <a:off x="336947" y="6475935"/>
            <a:ext cx="2356625" cy="3868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kumimoji="0" sz="950" b="0" i="0" u="none" strike="noStrike" cap="none" spc="0" normalizeH="0" baseline="0">
                <a:ln>
                  <a:noFill/>
                </a:ln>
                <a:solidFill>
                  <a:srgbClr val="444B52"/>
                </a:solidFill>
                <a:effectLst/>
                <a:uLnTx/>
                <a:uFillTx/>
                <a:latin typeface="Sparkasse Rg" panose="020B0504050602020204" pitchFamily="34" charset="0"/>
              </a:defRPr>
            </a:lvl1pPr>
          </a:lstStyle>
          <a:p>
            <a:pPr lvl="0"/>
            <a:r>
              <a:rPr lang="de-DE" noProof="0" dirty="0">
                <a:latin typeface="+mj-lt"/>
              </a:rPr>
              <a:t>Sparkassen-Finanzgruppe</a:t>
            </a:r>
          </a:p>
        </p:txBody>
      </p:sp>
      <p:pic>
        <p:nvPicPr>
          <p:cNvPr id="35" name="Picture 2">
            <a:extLst>
              <a:ext uri="{FF2B5EF4-FFF2-40B4-BE49-F238E27FC236}">
                <a16:creationId xmlns:a16="http://schemas.microsoft.com/office/drawing/2014/main" id="{0A7AC182-FBBA-4323-8CD6-819CA5B295B8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266238" y="6165304"/>
            <a:ext cx="2591989" cy="418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</p:pic>
      <p:grpSp>
        <p:nvGrpSpPr>
          <p:cNvPr id="8" name="Grafik 38">
            <a:extLst>
              <a:ext uri="{FF2B5EF4-FFF2-40B4-BE49-F238E27FC236}">
                <a16:creationId xmlns:a16="http://schemas.microsoft.com/office/drawing/2014/main" id="{A1F57AE5-F36A-4653-8C10-8DB3EBB9156F}"/>
              </a:ext>
            </a:extLst>
          </p:cNvPr>
          <p:cNvGrpSpPr/>
          <p:nvPr userDrawn="1"/>
        </p:nvGrpSpPr>
        <p:grpSpPr>
          <a:xfrm>
            <a:off x="11426227" y="332656"/>
            <a:ext cx="432000" cy="432000"/>
            <a:chOff x="11426227" y="332656"/>
            <a:chExt cx="432000" cy="432000"/>
          </a:xfrm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0C39D795-B8BD-4284-8E73-A32F0EED1A13}"/>
                </a:ext>
              </a:extLst>
            </p:cNvPr>
            <p:cNvSpPr/>
            <p:nvPr/>
          </p:nvSpPr>
          <p:spPr>
            <a:xfrm>
              <a:off x="11426227" y="332656"/>
              <a:ext cx="432000" cy="432000"/>
            </a:xfrm>
            <a:custGeom>
              <a:avLst/>
              <a:gdLst>
                <a:gd name="connsiteX0" fmla="*/ 91325 w 432000"/>
                <a:gd name="connsiteY0" fmla="*/ 0 h 432000"/>
                <a:gd name="connsiteX1" fmla="*/ 0 w 432000"/>
                <a:gd name="connsiteY1" fmla="*/ 91325 h 432000"/>
                <a:gd name="connsiteX2" fmla="*/ 0 w 432000"/>
                <a:gd name="connsiteY2" fmla="*/ 340675 h 432000"/>
                <a:gd name="connsiteX3" fmla="*/ 91325 w 432000"/>
                <a:gd name="connsiteY3" fmla="*/ 432000 h 432000"/>
                <a:gd name="connsiteX4" fmla="*/ 340675 w 432000"/>
                <a:gd name="connsiteY4" fmla="*/ 432000 h 432000"/>
                <a:gd name="connsiteX5" fmla="*/ 432000 w 432000"/>
                <a:gd name="connsiteY5" fmla="*/ 340675 h 432000"/>
                <a:gd name="connsiteX6" fmla="*/ 432000 w 432000"/>
                <a:gd name="connsiteY6" fmla="*/ 91325 h 432000"/>
                <a:gd name="connsiteX7" fmla="*/ 340675 w 432000"/>
                <a:gd name="connsiteY7" fmla="*/ 0 h 432000"/>
                <a:gd name="connsiteX8" fmla="*/ 91325 w 432000"/>
                <a:gd name="connsiteY8" fmla="*/ 0 h 43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2000" h="432000">
                  <a:moveTo>
                    <a:pt x="91325" y="0"/>
                  </a:moveTo>
                  <a:cubicBezTo>
                    <a:pt x="40867" y="0"/>
                    <a:pt x="0" y="40867"/>
                    <a:pt x="0" y="91325"/>
                  </a:cubicBezTo>
                  <a:lnTo>
                    <a:pt x="0" y="340675"/>
                  </a:lnTo>
                  <a:cubicBezTo>
                    <a:pt x="0" y="391090"/>
                    <a:pt x="40867" y="432000"/>
                    <a:pt x="91325" y="432000"/>
                  </a:cubicBezTo>
                  <a:lnTo>
                    <a:pt x="340675" y="432000"/>
                  </a:lnTo>
                  <a:cubicBezTo>
                    <a:pt x="391090" y="432000"/>
                    <a:pt x="432000" y="391133"/>
                    <a:pt x="432000" y="340675"/>
                  </a:cubicBezTo>
                  <a:lnTo>
                    <a:pt x="432000" y="91325"/>
                  </a:lnTo>
                  <a:cubicBezTo>
                    <a:pt x="432000" y="40867"/>
                    <a:pt x="391133" y="0"/>
                    <a:pt x="340675" y="0"/>
                  </a:cubicBezTo>
                  <a:lnTo>
                    <a:pt x="91325" y="0"/>
                  </a:lnTo>
                  <a:close/>
                </a:path>
              </a:pathLst>
            </a:custGeom>
            <a:solidFill>
              <a:srgbClr val="FF0000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DFAAADE2-5643-4D3C-8273-B2F3441FA545}"/>
                </a:ext>
              </a:extLst>
            </p:cNvPr>
            <p:cNvSpPr/>
            <p:nvPr/>
          </p:nvSpPr>
          <p:spPr>
            <a:xfrm>
              <a:off x="11726078" y="448000"/>
              <a:ext cx="67219" cy="67219"/>
            </a:xfrm>
            <a:custGeom>
              <a:avLst/>
              <a:gdLst>
                <a:gd name="connsiteX0" fmla="*/ 33610 w 67219"/>
                <a:gd name="connsiteY0" fmla="*/ 67219 h 67219"/>
                <a:gd name="connsiteX1" fmla="*/ 67219 w 67219"/>
                <a:gd name="connsiteY1" fmla="*/ 33610 h 67219"/>
                <a:gd name="connsiteX2" fmla="*/ 33610 w 67219"/>
                <a:gd name="connsiteY2" fmla="*/ 0 h 67219"/>
                <a:gd name="connsiteX3" fmla="*/ 0 w 67219"/>
                <a:gd name="connsiteY3" fmla="*/ 33610 h 67219"/>
                <a:gd name="connsiteX4" fmla="*/ 33610 w 67219"/>
                <a:gd name="connsiteY4" fmla="*/ 67219 h 67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219" h="67219">
                  <a:moveTo>
                    <a:pt x="33610" y="67219"/>
                  </a:moveTo>
                  <a:cubicBezTo>
                    <a:pt x="52186" y="67219"/>
                    <a:pt x="67219" y="52186"/>
                    <a:pt x="67219" y="33610"/>
                  </a:cubicBezTo>
                  <a:cubicBezTo>
                    <a:pt x="67219" y="15034"/>
                    <a:pt x="52186" y="0"/>
                    <a:pt x="33610" y="0"/>
                  </a:cubicBezTo>
                  <a:cubicBezTo>
                    <a:pt x="15034" y="0"/>
                    <a:pt x="0" y="15034"/>
                    <a:pt x="0" y="33610"/>
                  </a:cubicBezTo>
                  <a:cubicBezTo>
                    <a:pt x="0" y="52186"/>
                    <a:pt x="15034" y="67219"/>
                    <a:pt x="33610" y="67219"/>
                  </a:cubicBezTo>
                </a:path>
              </a:pathLst>
            </a:custGeom>
            <a:solidFill>
              <a:srgbClr val="FFFFFF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71DADE1A-6ED3-4ED5-8F7F-0B9D6422CFE4}"/>
                </a:ext>
              </a:extLst>
            </p:cNvPr>
            <p:cNvSpPr/>
            <p:nvPr/>
          </p:nvSpPr>
          <p:spPr>
            <a:xfrm>
              <a:off x="11586585" y="448000"/>
              <a:ext cx="199843" cy="316656"/>
            </a:xfrm>
            <a:custGeom>
              <a:avLst/>
              <a:gdLst>
                <a:gd name="connsiteX0" fmla="*/ 121781 w 199843"/>
                <a:gd name="connsiteY0" fmla="*/ 2074 h 316656"/>
                <a:gd name="connsiteX1" fmla="*/ 91282 w 199843"/>
                <a:gd name="connsiteY1" fmla="*/ 0 h 316656"/>
                <a:gd name="connsiteX2" fmla="*/ 22205 w 199843"/>
                <a:gd name="connsiteY2" fmla="*/ 67565 h 316656"/>
                <a:gd name="connsiteX3" fmla="*/ 22205 w 199843"/>
                <a:gd name="connsiteY3" fmla="*/ 100397 h 316656"/>
                <a:gd name="connsiteX4" fmla="*/ 0 w 199843"/>
                <a:gd name="connsiteY4" fmla="*/ 100397 h 316656"/>
                <a:gd name="connsiteX5" fmla="*/ 0 w 199843"/>
                <a:gd name="connsiteY5" fmla="*/ 144374 h 316656"/>
                <a:gd name="connsiteX6" fmla="*/ 22118 w 199843"/>
                <a:gd name="connsiteY6" fmla="*/ 144374 h 316656"/>
                <a:gd name="connsiteX7" fmla="*/ 22118 w 199843"/>
                <a:gd name="connsiteY7" fmla="*/ 316656 h 316656"/>
                <a:gd name="connsiteX8" fmla="*/ 78192 w 199843"/>
                <a:gd name="connsiteY8" fmla="*/ 316656 h 316656"/>
                <a:gd name="connsiteX9" fmla="*/ 78192 w 199843"/>
                <a:gd name="connsiteY9" fmla="*/ 144331 h 316656"/>
                <a:gd name="connsiteX10" fmla="*/ 144418 w 199843"/>
                <a:gd name="connsiteY10" fmla="*/ 144331 h 316656"/>
                <a:gd name="connsiteX11" fmla="*/ 144418 w 199843"/>
                <a:gd name="connsiteY11" fmla="*/ 316656 h 316656"/>
                <a:gd name="connsiteX12" fmla="*/ 199843 w 199843"/>
                <a:gd name="connsiteY12" fmla="*/ 316656 h 316656"/>
                <a:gd name="connsiteX13" fmla="*/ 199843 w 199843"/>
                <a:gd name="connsiteY13" fmla="*/ 100397 h 316656"/>
                <a:gd name="connsiteX14" fmla="*/ 77890 w 199843"/>
                <a:gd name="connsiteY14" fmla="*/ 100397 h 316656"/>
                <a:gd name="connsiteX15" fmla="*/ 77890 w 199843"/>
                <a:gd name="connsiteY15" fmla="*/ 74520 h 316656"/>
                <a:gd name="connsiteX16" fmla="*/ 106790 w 199843"/>
                <a:gd name="connsiteY16" fmla="*/ 42768 h 316656"/>
                <a:gd name="connsiteX17" fmla="*/ 121824 w 199843"/>
                <a:gd name="connsiteY17" fmla="*/ 43762 h 316656"/>
                <a:gd name="connsiteX18" fmla="*/ 121781 w 199843"/>
                <a:gd name="connsiteY18" fmla="*/ 2074 h 316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9843" h="316656">
                  <a:moveTo>
                    <a:pt x="121781" y="2074"/>
                  </a:moveTo>
                  <a:cubicBezTo>
                    <a:pt x="112709" y="864"/>
                    <a:pt x="103118" y="0"/>
                    <a:pt x="91282" y="0"/>
                  </a:cubicBezTo>
                  <a:cubicBezTo>
                    <a:pt x="49378" y="0"/>
                    <a:pt x="22205" y="21989"/>
                    <a:pt x="22205" y="67565"/>
                  </a:cubicBezTo>
                  <a:lnTo>
                    <a:pt x="22205" y="100397"/>
                  </a:lnTo>
                  <a:lnTo>
                    <a:pt x="0" y="100397"/>
                  </a:lnTo>
                  <a:lnTo>
                    <a:pt x="0" y="144374"/>
                  </a:lnTo>
                  <a:lnTo>
                    <a:pt x="22118" y="144374"/>
                  </a:lnTo>
                  <a:lnTo>
                    <a:pt x="22118" y="316656"/>
                  </a:lnTo>
                  <a:lnTo>
                    <a:pt x="78192" y="316656"/>
                  </a:lnTo>
                  <a:lnTo>
                    <a:pt x="78192" y="144331"/>
                  </a:lnTo>
                  <a:lnTo>
                    <a:pt x="144418" y="144331"/>
                  </a:lnTo>
                  <a:lnTo>
                    <a:pt x="144418" y="316656"/>
                  </a:lnTo>
                  <a:lnTo>
                    <a:pt x="199843" y="316656"/>
                  </a:lnTo>
                  <a:lnTo>
                    <a:pt x="199843" y="100397"/>
                  </a:lnTo>
                  <a:lnTo>
                    <a:pt x="77890" y="100397"/>
                  </a:lnTo>
                  <a:lnTo>
                    <a:pt x="77890" y="74520"/>
                  </a:lnTo>
                  <a:cubicBezTo>
                    <a:pt x="77890" y="50933"/>
                    <a:pt x="87653" y="42768"/>
                    <a:pt x="106790" y="42768"/>
                  </a:cubicBezTo>
                  <a:cubicBezTo>
                    <a:pt x="112147" y="42768"/>
                    <a:pt x="116726" y="43157"/>
                    <a:pt x="121824" y="43762"/>
                  </a:cubicBezTo>
                  <a:lnTo>
                    <a:pt x="121781" y="2074"/>
                  </a:lnTo>
                  <a:close/>
                </a:path>
              </a:pathLst>
            </a:custGeom>
            <a:solidFill>
              <a:srgbClr val="FFFFFF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606577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3051F-5CCC-4B0F-A751-C70FD0BFE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4051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6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3051F-5CCC-4B0F-A751-C70FD0BFE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Inhaltsplatzhalter 16">
            <a:extLst>
              <a:ext uri="{FF2B5EF4-FFF2-40B4-BE49-F238E27FC236}">
                <a16:creationId xmlns:a16="http://schemas.microsoft.com/office/drawing/2014/main" id="{92761EEB-C502-4832-A6D4-65C16FD7D8E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6550" y="1629200"/>
            <a:ext cx="3600450" cy="43207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3" name="!!Quelle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D038D9F-9CB7-4B4A-ACFF-3BA996E712D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6EF41023-73D9-4092-B275-796F0ACF248B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4D5D41-693B-4E88-86B1-3EADCF728CE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FE3A6FB-0C3A-4870-B34E-66BEDBAAF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Titelformat durch Klicken bearbeiten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2E3BA1-B2E9-403C-9040-D25727608F7E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4297588" y="1628775"/>
            <a:ext cx="3600226" cy="43211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8A1FACA-0EE1-42DF-8A7F-96D17AFA9498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8258175" y="1628775"/>
            <a:ext cx="3600450" cy="43211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932029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3051F-5CCC-4B0F-A751-C70FD0BFE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4518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0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3051F-5CCC-4B0F-A751-C70FD0BFE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Inhaltsplatzhalter 16">
            <a:extLst>
              <a:ext uri="{FF2B5EF4-FFF2-40B4-BE49-F238E27FC236}">
                <a16:creationId xmlns:a16="http://schemas.microsoft.com/office/drawing/2014/main" id="{92761EEB-C502-4832-A6D4-65C16FD7D8E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6550" y="1629200"/>
            <a:ext cx="2592388" cy="43207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3" name="!!Quelle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D038D9F-9CB7-4B4A-ACFF-3BA996E712D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0D82C577-6915-4741-969F-A3274DBCDE67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4D5D41-693B-4E88-86B1-3EADCF728CE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FE3A6FB-0C3A-4870-B34E-66BEDBAAF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Titelformat durch Klicken bearbeiten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2E3BA1-B2E9-403C-9040-D25727608F7E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3289587" y="1628775"/>
            <a:ext cx="2592101" cy="43211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8A1FACA-0EE1-42DF-8A7F-96D17AFA9498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6313587" y="1628775"/>
            <a:ext cx="2592288" cy="43211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AC5FA851-74B2-439E-A1A7-EADA6A0F6935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9266238" y="1628775"/>
            <a:ext cx="2592387" cy="43211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882501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 mit Numeri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3051F-5CCC-4B0F-A751-C70FD0BFE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357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4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3051F-5CCC-4B0F-A751-C70FD0BFE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Inhaltsplatzhalter 16">
            <a:extLst>
              <a:ext uri="{FF2B5EF4-FFF2-40B4-BE49-F238E27FC236}">
                <a16:creationId xmlns:a16="http://schemas.microsoft.com/office/drawing/2014/main" id="{92761EEB-C502-4832-A6D4-65C16FD7D8E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7587" y="1629200"/>
            <a:ext cx="3600450" cy="4319800"/>
          </a:xfrm>
        </p:spPr>
        <p:txBody>
          <a:bodyPr tIns="1008000"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2E3BA1-B2E9-403C-9040-D25727608F7E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4297587" y="1628775"/>
            <a:ext cx="3600226" cy="4319800"/>
          </a:xfrm>
        </p:spPr>
        <p:txBody>
          <a:bodyPr tIns="1008000"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8A1FACA-0EE1-42DF-8A7F-96D17AFA9498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8257587" y="1628775"/>
            <a:ext cx="3600450" cy="4319800"/>
          </a:xfrm>
        </p:spPr>
        <p:txBody>
          <a:bodyPr tIns="1008000"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3" name="!!Quelle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D038D9F-9CB7-4B4A-ACFF-3BA996E712D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97006FF3-8968-44CD-B998-1138BD38B764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4D5D41-693B-4E88-86B1-3EADCF728CE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FE3A6FB-0C3A-4870-B34E-66BEDBAAF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Titelformat durch Klicken bearbeite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28CBF1EA-FB19-485E-B82E-393004791A6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 rot="5400000">
            <a:off x="337587" y="1629001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wrap="none" lIns="0" tIns="0" rIns="36000" bIns="0" rtlCol="0" anchor="ctr">
            <a:noAutofit/>
          </a:bodyPr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dirty="0">
                <a:latin typeface="+mj-lt"/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0</a:t>
            </a:r>
          </a:p>
        </p:txBody>
      </p:sp>
      <p:sp>
        <p:nvSpPr>
          <p:cNvPr id="21" name="Textplatzhalter 17">
            <a:extLst>
              <a:ext uri="{FF2B5EF4-FFF2-40B4-BE49-F238E27FC236}">
                <a16:creationId xmlns:a16="http://schemas.microsoft.com/office/drawing/2014/main" id="{088A4A3C-CC20-4391-9523-719DE78899C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 rot="5400000">
            <a:off x="4297587" y="1629002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wrap="none" lIns="0" tIns="0" rIns="36000" bIns="0" rtlCol="0" anchor="ctr">
            <a:noAutofit/>
          </a:bodyPr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dirty="0">
                <a:latin typeface="+mj-lt"/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0</a:t>
            </a:r>
          </a:p>
        </p:txBody>
      </p:sp>
      <p:sp>
        <p:nvSpPr>
          <p:cNvPr id="22" name="Textplatzhalter 17">
            <a:extLst>
              <a:ext uri="{FF2B5EF4-FFF2-40B4-BE49-F238E27FC236}">
                <a16:creationId xmlns:a16="http://schemas.microsoft.com/office/drawing/2014/main" id="{EE44D913-3106-40F1-8206-03E58E26869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5400000">
            <a:off x="8257587" y="1629003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wrap="none" lIns="0" tIns="0" rIns="36000" bIns="0" rtlCol="0" anchor="ctr">
            <a:noAutofit/>
          </a:bodyPr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dirty="0">
                <a:latin typeface="+mj-lt"/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9310649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 mit Numerierung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3051F-5CCC-4B0F-A751-C70FD0BFE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6531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8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3051F-5CCC-4B0F-A751-C70FD0BFE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Inhaltsplatzhalter 16">
            <a:extLst>
              <a:ext uri="{FF2B5EF4-FFF2-40B4-BE49-F238E27FC236}">
                <a16:creationId xmlns:a16="http://schemas.microsoft.com/office/drawing/2014/main" id="{92761EEB-C502-4832-A6D4-65C16FD7D8E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7587" y="1629200"/>
            <a:ext cx="2592000" cy="4319800"/>
          </a:xfrm>
        </p:spPr>
        <p:txBody>
          <a:bodyPr tIns="1008000"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3" name="!!Quelle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D038D9F-9CB7-4B4A-ACFF-3BA996E712D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99DEABEA-A480-4BF8-897E-8164C5338678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4D5D41-693B-4E88-86B1-3EADCF728CE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FE3A6FB-0C3A-4870-B34E-66BEDBAAF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947" y="333000"/>
            <a:ext cx="8568640" cy="935760"/>
          </a:xfrm>
        </p:spPr>
        <p:txBody>
          <a:bodyPr vert="horz"/>
          <a:lstStyle/>
          <a:p>
            <a:r>
              <a:rPr lang="de-DE" dirty="0"/>
              <a:t>Titelformat durch Klicken bearbeiten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2E3BA1-B2E9-403C-9040-D25727608F7E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3289587" y="1628775"/>
            <a:ext cx="2592000" cy="4319800"/>
          </a:xfrm>
        </p:spPr>
        <p:txBody>
          <a:bodyPr tIns="1008000"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8A1FACA-0EE1-42DF-8A7F-96D17AFA9498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6313587" y="1628775"/>
            <a:ext cx="2592000" cy="4319800"/>
          </a:xfrm>
        </p:spPr>
        <p:txBody>
          <a:bodyPr tIns="1008000"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28CBF1EA-FB19-485E-B82E-393004791A6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 rot="5400000">
            <a:off x="337587" y="1629001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wrap="none" lIns="0" tIns="0" rIns="36000" bIns="0" rtlCol="0" anchor="ctr">
            <a:noAutofit/>
          </a:bodyPr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dirty="0">
                <a:latin typeface="+mj-lt"/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0</a:t>
            </a:r>
          </a:p>
        </p:txBody>
      </p:sp>
      <p:sp>
        <p:nvSpPr>
          <p:cNvPr id="21" name="Textplatzhalter 17">
            <a:extLst>
              <a:ext uri="{FF2B5EF4-FFF2-40B4-BE49-F238E27FC236}">
                <a16:creationId xmlns:a16="http://schemas.microsoft.com/office/drawing/2014/main" id="{088A4A3C-CC20-4391-9523-719DE78899C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 rot="5400000">
            <a:off x="3289587" y="1629002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wrap="none" lIns="0" tIns="0" rIns="36000" bIns="0" rtlCol="0" anchor="ctr">
            <a:noAutofit/>
          </a:bodyPr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dirty="0">
                <a:latin typeface="+mj-lt"/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0</a:t>
            </a:r>
          </a:p>
        </p:txBody>
      </p:sp>
      <p:sp>
        <p:nvSpPr>
          <p:cNvPr id="22" name="Textplatzhalter 17">
            <a:extLst>
              <a:ext uri="{FF2B5EF4-FFF2-40B4-BE49-F238E27FC236}">
                <a16:creationId xmlns:a16="http://schemas.microsoft.com/office/drawing/2014/main" id="{EE44D913-3106-40F1-8206-03E58E26869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5400000">
            <a:off x="6313587" y="1629003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wrap="none" lIns="0" tIns="0" rIns="36000" bIns="0" rtlCol="0" anchor="ctr">
            <a:noAutofit/>
          </a:bodyPr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dirty="0">
                <a:latin typeface="+mj-lt"/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0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43ED5D6-BB91-477D-AAFA-656A325015B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265587" y="0"/>
            <a:ext cx="2929588" cy="5949950"/>
          </a:xfrm>
          <a:solidFill>
            <a:schemeClr val="bg2"/>
          </a:solidFill>
          <a:ln>
            <a:solidFill>
              <a:schemeClr val="bg2"/>
            </a:solidFill>
          </a:ln>
        </p:spPr>
        <p:txBody>
          <a:bodyPr lIns="288000" tIns="1627200" rIns="288000" bIns="14400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794378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 mit Numeri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3051F-5CCC-4B0F-A751-C70FD0BFE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3843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2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3051F-5CCC-4B0F-A751-C70FD0BFE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Inhaltsplatzhalter 16">
            <a:extLst>
              <a:ext uri="{FF2B5EF4-FFF2-40B4-BE49-F238E27FC236}">
                <a16:creationId xmlns:a16="http://schemas.microsoft.com/office/drawing/2014/main" id="{92761EEB-C502-4832-A6D4-65C16FD7D8E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7587" y="1629200"/>
            <a:ext cx="2592000" cy="4319800"/>
          </a:xfrm>
        </p:spPr>
        <p:txBody>
          <a:bodyPr tIns="1008000"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2E3BA1-B2E9-403C-9040-D25727608F7E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3289587" y="1628775"/>
            <a:ext cx="2592000" cy="4319800"/>
          </a:xfrm>
        </p:spPr>
        <p:txBody>
          <a:bodyPr tIns="1008000"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8A1FACA-0EE1-42DF-8A7F-96D17AFA9498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6313587" y="1628775"/>
            <a:ext cx="2592000" cy="4319800"/>
          </a:xfrm>
        </p:spPr>
        <p:txBody>
          <a:bodyPr tIns="1008000"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Inhaltsplatzhalter 6">
            <a:extLst>
              <a:ext uri="{FF2B5EF4-FFF2-40B4-BE49-F238E27FC236}">
                <a16:creationId xmlns:a16="http://schemas.microsoft.com/office/drawing/2014/main" id="{D5855F52-C3F6-452E-B995-6009924FED62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9265587" y="1628775"/>
            <a:ext cx="2592000" cy="4319800"/>
          </a:xfrm>
        </p:spPr>
        <p:txBody>
          <a:bodyPr tIns="1008000"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3" name="!!Quelle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D038D9F-9CB7-4B4A-ACFF-3BA996E712D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D01EC509-9939-450C-9681-D29D2CAB2581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4D5D41-693B-4E88-86B1-3EADCF728CE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FE3A6FB-0C3A-4870-B34E-66BEDBAAF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Titelformat durch Klicken bearbeite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28CBF1EA-FB19-485E-B82E-393004791A6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 rot="5400000">
            <a:off x="337587" y="1629001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wrap="none" lIns="0" tIns="0" rIns="36000" bIns="0" rtlCol="0" anchor="ctr">
            <a:noAutofit/>
          </a:bodyPr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dirty="0">
                <a:latin typeface="+mj-lt"/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0</a:t>
            </a:r>
          </a:p>
        </p:txBody>
      </p:sp>
      <p:sp>
        <p:nvSpPr>
          <p:cNvPr id="21" name="Textplatzhalter 17">
            <a:extLst>
              <a:ext uri="{FF2B5EF4-FFF2-40B4-BE49-F238E27FC236}">
                <a16:creationId xmlns:a16="http://schemas.microsoft.com/office/drawing/2014/main" id="{088A4A3C-CC20-4391-9523-719DE78899C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 rot="5400000">
            <a:off x="3289587" y="1629002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wrap="none" lIns="0" tIns="0" rIns="36000" bIns="0" rtlCol="0" anchor="ctr">
            <a:noAutofit/>
          </a:bodyPr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dirty="0">
                <a:latin typeface="+mj-lt"/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0</a:t>
            </a:r>
          </a:p>
        </p:txBody>
      </p:sp>
      <p:sp>
        <p:nvSpPr>
          <p:cNvPr id="22" name="Textplatzhalter 17">
            <a:extLst>
              <a:ext uri="{FF2B5EF4-FFF2-40B4-BE49-F238E27FC236}">
                <a16:creationId xmlns:a16="http://schemas.microsoft.com/office/drawing/2014/main" id="{EE44D913-3106-40F1-8206-03E58E26869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5400000">
            <a:off x="6313587" y="1629003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wrap="none" lIns="0" tIns="0" rIns="36000" bIns="0" rtlCol="0" anchor="ctr">
            <a:noAutofit/>
          </a:bodyPr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dirty="0">
                <a:latin typeface="+mj-lt"/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0</a:t>
            </a:r>
          </a:p>
        </p:txBody>
      </p:sp>
      <p:sp>
        <p:nvSpPr>
          <p:cNvPr id="16" name="Textplatzhalter 17">
            <a:extLst>
              <a:ext uri="{FF2B5EF4-FFF2-40B4-BE49-F238E27FC236}">
                <a16:creationId xmlns:a16="http://schemas.microsoft.com/office/drawing/2014/main" id="{1F70092C-8DC0-404E-9A10-6D8CD507A96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 rot="5400000">
            <a:off x="9265587" y="1629003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wrap="none" lIns="0" tIns="0" rIns="36000" bIns="0" rtlCol="0" anchor="ctr">
            <a:noAutofit/>
          </a:bodyPr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dirty="0">
                <a:latin typeface="+mj-lt"/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0510665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vier Textblö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3051F-5CCC-4B0F-A751-C70FD0BFE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9697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6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3051F-5CCC-4B0F-A751-C70FD0BFE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Inhaltsplatzhalter 16">
            <a:extLst>
              <a:ext uri="{FF2B5EF4-FFF2-40B4-BE49-F238E27FC236}">
                <a16:creationId xmlns:a16="http://schemas.microsoft.com/office/drawing/2014/main" id="{92761EEB-C502-4832-A6D4-65C16FD7D8E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89587" y="333000"/>
            <a:ext cx="4104000" cy="2664000"/>
          </a:xfrm>
          <a:ln w="6350">
            <a:solidFill>
              <a:schemeClr val="tx1"/>
            </a:solidFill>
          </a:ln>
        </p:spPr>
        <p:txBody>
          <a:bodyPr lIns="144000" tIns="1008000" rIns="144000" bIns="144000"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2E3BA1-B2E9-403C-9040-D25727608F7E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7753587" y="333000"/>
            <a:ext cx="4104000" cy="2664000"/>
          </a:xfrm>
          <a:ln w="6350">
            <a:solidFill>
              <a:schemeClr val="tx1"/>
            </a:solidFill>
          </a:ln>
        </p:spPr>
        <p:txBody>
          <a:bodyPr lIns="144000" tIns="1008000" rIns="144000" bIns="144000"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8A1FACA-0EE1-42DF-8A7F-96D17AFA9498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3289587" y="3357000"/>
            <a:ext cx="4104000" cy="2592000"/>
          </a:xfrm>
          <a:ln w="6350">
            <a:solidFill>
              <a:schemeClr val="tx1"/>
            </a:solidFill>
          </a:ln>
        </p:spPr>
        <p:txBody>
          <a:bodyPr lIns="144000" tIns="1008000" rIns="144000" bIns="144000"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5" name="Inhaltsplatzhalter 6">
            <a:extLst>
              <a:ext uri="{FF2B5EF4-FFF2-40B4-BE49-F238E27FC236}">
                <a16:creationId xmlns:a16="http://schemas.microsoft.com/office/drawing/2014/main" id="{D5855F52-C3F6-452E-B995-6009924FED62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7753587" y="3357000"/>
            <a:ext cx="4104000" cy="2592000"/>
          </a:xfrm>
          <a:ln w="6350">
            <a:solidFill>
              <a:schemeClr val="tx1"/>
            </a:solidFill>
          </a:ln>
        </p:spPr>
        <p:txBody>
          <a:bodyPr lIns="144000" tIns="1008000" rIns="144000" bIns="144000"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33" name="!!Quelle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D038D9F-9CB7-4B4A-ACFF-3BA996E712D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41F80E0E-B0E5-45D0-81C3-95E872ABFE14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4D5D41-693B-4E88-86B1-3EADCF728CE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FE3A6FB-0C3A-4870-B34E-66BEDBAAF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2929587" cy="5949951"/>
          </a:xfrm>
          <a:solidFill>
            <a:schemeClr val="bg2"/>
          </a:solidFill>
        </p:spPr>
        <p:txBody>
          <a:bodyPr vert="horz" lIns="342000" tIns="252000" rIns="144000" bIns="144000"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format durch Klicken bearbeite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28CBF1EA-FB19-485E-B82E-393004791A6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 rot="5400000">
            <a:off x="3289587" y="333001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wrap="none" lIns="0" tIns="0" rIns="36000" bIns="144000" rtlCol="0" anchor="ctr">
            <a:noAutofit/>
          </a:bodyPr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dirty="0">
                <a:latin typeface="+mj-lt"/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0</a:t>
            </a:r>
          </a:p>
        </p:txBody>
      </p:sp>
      <p:sp>
        <p:nvSpPr>
          <p:cNvPr id="21" name="Textplatzhalter 17">
            <a:extLst>
              <a:ext uri="{FF2B5EF4-FFF2-40B4-BE49-F238E27FC236}">
                <a16:creationId xmlns:a16="http://schemas.microsoft.com/office/drawing/2014/main" id="{088A4A3C-CC20-4391-9523-719DE78899C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 rot="5400000">
            <a:off x="7753587" y="333001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wrap="none" lIns="0" tIns="0" rIns="36000" bIns="144000" rtlCol="0" anchor="ctr">
            <a:noAutofit/>
          </a:bodyPr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dirty="0">
                <a:latin typeface="+mj-lt"/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0</a:t>
            </a:r>
          </a:p>
        </p:txBody>
      </p:sp>
      <p:sp>
        <p:nvSpPr>
          <p:cNvPr id="22" name="Textplatzhalter 17">
            <a:extLst>
              <a:ext uri="{FF2B5EF4-FFF2-40B4-BE49-F238E27FC236}">
                <a16:creationId xmlns:a16="http://schemas.microsoft.com/office/drawing/2014/main" id="{EE44D913-3106-40F1-8206-03E58E26869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5400000">
            <a:off x="3289587" y="3357001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wrap="none" lIns="0" tIns="0" rIns="36000" bIns="144000" rtlCol="0" anchor="ctr">
            <a:noAutofit/>
          </a:bodyPr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dirty="0">
                <a:latin typeface="+mj-lt"/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0</a:t>
            </a:r>
          </a:p>
        </p:txBody>
      </p:sp>
      <p:sp>
        <p:nvSpPr>
          <p:cNvPr id="16" name="Textplatzhalter 17">
            <a:extLst>
              <a:ext uri="{FF2B5EF4-FFF2-40B4-BE49-F238E27FC236}">
                <a16:creationId xmlns:a16="http://schemas.microsoft.com/office/drawing/2014/main" id="{1F70092C-8DC0-404E-9A10-6D8CD507A96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 rot="5400000">
            <a:off x="7753587" y="3357001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wrap="none" lIns="0" tIns="0" rIns="36000" bIns="144000" rtlCol="0" anchor="ctr">
            <a:noAutofit/>
          </a:bodyPr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dirty="0">
                <a:latin typeface="+mj-lt"/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2589219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mit Text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3051F-5CCC-4B0F-A751-C70FD0BFE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2914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0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3051F-5CCC-4B0F-A751-C70FD0BFE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Inhaltsplatzhalter 16">
            <a:extLst>
              <a:ext uri="{FF2B5EF4-FFF2-40B4-BE49-F238E27FC236}">
                <a16:creationId xmlns:a16="http://schemas.microsoft.com/office/drawing/2014/main" id="{92761EEB-C502-4832-A6D4-65C16FD7D8E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9265587" y="1628776"/>
            <a:ext cx="2593038" cy="4320225"/>
          </a:xfrm>
          <a:ln w="6350">
            <a:solidFill>
              <a:schemeClr val="tx1"/>
            </a:solidFill>
          </a:ln>
        </p:spPr>
        <p:txBody>
          <a:bodyPr lIns="144000" tIns="1008000" rIns="144000" bIns="144000"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3" name="!!Quelle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D038D9F-9CB7-4B4A-ACFF-3BA996E712D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886C02A1-3367-4F2C-9618-B3E2A3613D7F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4D5D41-693B-4E88-86B1-3EADCF728CE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FE3A6FB-0C3A-4870-B34E-66BEDBAAF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947" y="333000"/>
            <a:ext cx="11521678" cy="935760"/>
          </a:xfrm>
        </p:spPr>
        <p:txBody>
          <a:bodyPr vert="horz"/>
          <a:lstStyle/>
          <a:p>
            <a:r>
              <a:rPr lang="de-DE" dirty="0"/>
              <a:t>Titelformat durch Klicken bearbeite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28CBF1EA-FB19-485E-B82E-393004791A6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 rot="5400000">
            <a:off x="9265587" y="1629002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wrap="none" lIns="0" tIns="0" rIns="36000" bIns="144000" rtlCol="0" anchor="ctr">
            <a:noAutofit/>
          </a:bodyPr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dirty="0">
                <a:latin typeface="+mj-lt"/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0</a:t>
            </a:r>
          </a:p>
        </p:txBody>
      </p:sp>
      <p:sp>
        <p:nvSpPr>
          <p:cNvPr id="16" name="Diagrammplatzhalter 11">
            <a:extLst>
              <a:ext uri="{FF2B5EF4-FFF2-40B4-BE49-F238E27FC236}">
                <a16:creationId xmlns:a16="http://schemas.microsoft.com/office/drawing/2014/main" id="{087081F5-A052-4D89-82BF-93EF2FA5B400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336550" y="2421000"/>
            <a:ext cx="8569037" cy="3528950"/>
          </a:xfrm>
        </p:spPr>
        <p:txBody>
          <a:bodyPr anchor="ctr"/>
          <a:lstStyle>
            <a:lvl1pPr algn="ctr">
              <a:defRPr>
                <a:latin typeface="+mj-lt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60DF3DE-C16D-4211-B040-D466C07BB2A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6550" y="1628775"/>
            <a:ext cx="8569325" cy="6477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/>
            </a:lvl9pPr>
          </a:lstStyle>
          <a:p>
            <a:pPr lvl="0"/>
            <a:r>
              <a:rPr lang="de-DE" dirty="0"/>
              <a:t>Diagrammtitel</a:t>
            </a:r>
          </a:p>
        </p:txBody>
      </p:sp>
    </p:spTree>
    <p:extLst>
      <p:ext uri="{BB962C8B-B14F-4D97-AF65-F5344CB8AC3E}">
        <p14:creationId xmlns:p14="http://schemas.microsoft.com/office/powerpoint/2010/main" val="30409952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lock mit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3051F-5CCC-4B0F-A751-C70FD0BFE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396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4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3051F-5CCC-4B0F-A751-C70FD0BFE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Inhaltsplatzhalter 16">
            <a:extLst>
              <a:ext uri="{FF2B5EF4-FFF2-40B4-BE49-F238E27FC236}">
                <a16:creationId xmlns:a16="http://schemas.microsoft.com/office/drawing/2014/main" id="{92761EEB-C502-4832-A6D4-65C16FD7D8E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7587" y="1628775"/>
            <a:ext cx="5544000" cy="4320225"/>
          </a:xfrm>
          <a:ln w="6350">
            <a:solidFill>
              <a:schemeClr val="tx1"/>
            </a:solidFill>
          </a:ln>
        </p:spPr>
        <p:txBody>
          <a:bodyPr lIns="144000" tIns="1008000" rIns="144000" bIns="144000"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3" name="!!Quelle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D038D9F-9CB7-4B4A-ACFF-3BA996E712D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81DE5468-3AF0-4E00-B4ED-067B0DFB259F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4D5D41-693B-4E88-86B1-3EADCF728CE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FE3A6FB-0C3A-4870-B34E-66BEDBAAF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947" y="333000"/>
            <a:ext cx="5544640" cy="935760"/>
          </a:xfrm>
        </p:spPr>
        <p:txBody>
          <a:bodyPr vert="horz"/>
          <a:lstStyle/>
          <a:p>
            <a:r>
              <a:rPr lang="de-DE" dirty="0"/>
              <a:t>Titelformat durch Klicken bearbeiten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D266002-3CD1-4CB5-AFDC-A768178DB7A0}"/>
              </a:ext>
            </a:extLst>
          </p:cNvPr>
          <p:cNvSpPr/>
          <p:nvPr userDrawn="1"/>
        </p:nvSpPr>
        <p:spPr bwMode="gray">
          <a:xfrm>
            <a:off x="11352549" y="43962"/>
            <a:ext cx="577038" cy="577038"/>
          </a:xfrm>
          <a:prstGeom prst="ellipse">
            <a:avLst/>
          </a:prstGeom>
          <a:solidFill>
            <a:srgbClr val="E2E417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28CBF1EA-FB19-485E-B82E-393004791A6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 rot="5400000">
            <a:off x="337587" y="1629001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wrap="none" lIns="0" tIns="0" rIns="36000" bIns="144000" rtlCol="0" anchor="ctr">
            <a:noAutofit/>
          </a:bodyPr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dirty="0">
                <a:latin typeface="+mj-lt"/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0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9B901EC9-35E5-45DB-84A4-6ABF2B4769D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13489" y="0"/>
            <a:ext cx="5881686" cy="5949950"/>
          </a:xfrm>
          <a:solidFill>
            <a:schemeClr val="accent1"/>
          </a:solidFill>
        </p:spPr>
        <p:txBody>
          <a:bodyPr lIns="288000" tIns="1584000" rIns="288000" bIns="216000"/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" name="Diagrammplatzhalter 11">
            <a:extLst>
              <a:ext uri="{FF2B5EF4-FFF2-40B4-BE49-F238E27FC236}">
                <a16:creationId xmlns:a16="http://schemas.microsoft.com/office/drawing/2014/main" id="{087081F5-A052-4D89-82BF-93EF2FA5B400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673850" y="333000"/>
            <a:ext cx="5184775" cy="5283952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695037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3051F-5CCC-4B0F-A751-C70FD0BFE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4757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8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3051F-5CCC-4B0F-A751-C70FD0BFE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565CF8C-BF8C-4515-9BD1-375507324E1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881688" y="0"/>
            <a:ext cx="6313487" cy="5949950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F181E7D-FE2A-42D4-8143-65542C46560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1628775"/>
            <a:ext cx="6313488" cy="4321175"/>
          </a:xfrm>
          <a:solidFill>
            <a:srgbClr val="FF0000"/>
          </a:solidFill>
        </p:spPr>
        <p:txBody>
          <a:bodyPr lIns="914400" tIns="1224000" rIns="28800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2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Zitatformat durch Klicken bearbeiten</a:t>
            </a:r>
          </a:p>
        </p:txBody>
      </p:sp>
      <p:sp>
        <p:nvSpPr>
          <p:cNvPr id="33" name="!!Quelle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D038D9F-9CB7-4B4A-ACFF-3BA996E712D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B612B8A-5E94-43B9-AF41-637A2B539C73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4D5D41-693B-4E88-86B1-3EADCF728CE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28CBF1EA-FB19-485E-B82E-393004791A6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 rot="5400000">
            <a:off x="-10800" y="1639800"/>
            <a:ext cx="936000" cy="9144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2">
                    <a:alpha val="0"/>
                  </a:schemeClr>
                </a:gs>
                <a:gs pos="90000">
                  <a:schemeClr val="tx2"/>
                </a:gs>
              </a:gsLst>
              <a:lin ang="0" scaled="0"/>
              <a:tileRect/>
            </a:gradFill>
          </a:ln>
        </p:spPr>
        <p:txBody>
          <a:bodyPr vert="vert270" wrap="none" lIns="0" tIns="0" rIns="72000" bIns="342000" rtlCol="0" anchor="ctr">
            <a:noAutofit/>
          </a:bodyPr>
          <a:lstStyle>
            <a:lvl1pPr>
              <a:defRPr lang="de-DE" sz="4400" dirty="0">
                <a:latin typeface="+mj-lt"/>
              </a:defRPr>
            </a:lvl1pPr>
            <a:lvl2pPr>
              <a:defRPr lang="de-DE" sz="44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2pPr>
            <a:lvl3pPr>
              <a:defRPr lang="de-DE" sz="44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3pPr>
            <a:lvl4pPr>
              <a:defRPr lang="de-DE" sz="44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4pPr>
            <a:lvl5pPr>
              <a:defRPr lang="de-DE" sz="44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5pPr>
            <a:lvl6pPr>
              <a:defRPr lang="de-DE" sz="44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6pPr>
            <a:lvl7pPr>
              <a:defRPr lang="de-DE" sz="44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7pPr>
            <a:lvl8pPr>
              <a:defRPr lang="de-DE" sz="4400" b="1" kern="1200" dirty="0" smtClean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8pPr>
            <a:lvl9pPr>
              <a:defRPr lang="de-DE" sz="4400" b="1" kern="1200" dirty="0">
                <a:solidFill>
                  <a:srgbClr val="444B52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BA2783C-4D6D-405C-86A5-FD7E5C89469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13587" y="4940999"/>
            <a:ext cx="4968000" cy="864000"/>
          </a:xfrm>
        </p:spPr>
        <p:txBody>
          <a:bodyPr/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tx2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tx2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tx2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tx2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tx2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tx2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tx2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tx2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Position | Abteilung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50AC306F-899B-48FB-BC3A-3F717C017CE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6947" y="1852173"/>
            <a:ext cx="612068" cy="489654"/>
          </a:xfrm>
          <a:custGeom>
            <a:avLst/>
            <a:gdLst>
              <a:gd name="connsiteX0" fmla="*/ 550861 w 612068"/>
              <a:gd name="connsiteY0" fmla="*/ 0 h 489654"/>
              <a:gd name="connsiteX1" fmla="*/ 612068 w 612068"/>
              <a:gd name="connsiteY1" fmla="*/ 61207 h 489654"/>
              <a:gd name="connsiteX2" fmla="*/ 550861 w 612068"/>
              <a:gd name="connsiteY2" fmla="*/ 122414 h 489654"/>
              <a:gd name="connsiteX3" fmla="*/ 428448 w 612068"/>
              <a:gd name="connsiteY3" fmla="*/ 244827 h 489654"/>
              <a:gd name="connsiteX4" fmla="*/ 488859 w 612068"/>
              <a:gd name="connsiteY4" fmla="*/ 244827 h 489654"/>
              <a:gd name="connsiteX5" fmla="*/ 550861 w 612068"/>
              <a:gd name="connsiteY5" fmla="*/ 306829 h 489654"/>
              <a:gd name="connsiteX6" fmla="*/ 550861 w 612068"/>
              <a:gd name="connsiteY6" fmla="*/ 427652 h 489654"/>
              <a:gd name="connsiteX7" fmla="*/ 488859 w 612068"/>
              <a:gd name="connsiteY7" fmla="*/ 489654 h 489654"/>
              <a:gd name="connsiteX8" fmla="*/ 368037 w 612068"/>
              <a:gd name="connsiteY8" fmla="*/ 489654 h 489654"/>
              <a:gd name="connsiteX9" fmla="*/ 306034 w 612068"/>
              <a:gd name="connsiteY9" fmla="*/ 427652 h 489654"/>
              <a:gd name="connsiteX10" fmla="*/ 306034 w 612068"/>
              <a:gd name="connsiteY10" fmla="*/ 367241 h 489654"/>
              <a:gd name="connsiteX11" fmla="*/ 306034 w 612068"/>
              <a:gd name="connsiteY11" fmla="*/ 306829 h 489654"/>
              <a:gd name="connsiteX12" fmla="*/ 306034 w 612068"/>
              <a:gd name="connsiteY12" fmla="*/ 244827 h 489654"/>
              <a:gd name="connsiteX13" fmla="*/ 550861 w 612068"/>
              <a:gd name="connsiteY13" fmla="*/ 0 h 489654"/>
              <a:gd name="connsiteX14" fmla="*/ 244827 w 612068"/>
              <a:gd name="connsiteY14" fmla="*/ 0 h 489654"/>
              <a:gd name="connsiteX15" fmla="*/ 306034 w 612068"/>
              <a:gd name="connsiteY15" fmla="*/ 61207 h 489654"/>
              <a:gd name="connsiteX16" fmla="*/ 244827 w 612068"/>
              <a:gd name="connsiteY16" fmla="*/ 122414 h 489654"/>
              <a:gd name="connsiteX17" fmla="*/ 122414 w 612068"/>
              <a:gd name="connsiteY17" fmla="*/ 244827 h 489654"/>
              <a:gd name="connsiteX18" fmla="*/ 182825 w 612068"/>
              <a:gd name="connsiteY18" fmla="*/ 244827 h 489654"/>
              <a:gd name="connsiteX19" fmla="*/ 244827 w 612068"/>
              <a:gd name="connsiteY19" fmla="*/ 306829 h 489654"/>
              <a:gd name="connsiteX20" fmla="*/ 244827 w 612068"/>
              <a:gd name="connsiteY20" fmla="*/ 427652 h 489654"/>
              <a:gd name="connsiteX21" fmla="*/ 182825 w 612068"/>
              <a:gd name="connsiteY21" fmla="*/ 489654 h 489654"/>
              <a:gd name="connsiteX22" fmla="*/ 62003 w 612068"/>
              <a:gd name="connsiteY22" fmla="*/ 489654 h 489654"/>
              <a:gd name="connsiteX23" fmla="*/ 0 w 612068"/>
              <a:gd name="connsiteY23" fmla="*/ 427652 h 489654"/>
              <a:gd name="connsiteX24" fmla="*/ 0 w 612068"/>
              <a:gd name="connsiteY24" fmla="*/ 367241 h 489654"/>
              <a:gd name="connsiteX25" fmla="*/ 0 w 612068"/>
              <a:gd name="connsiteY25" fmla="*/ 306829 h 489654"/>
              <a:gd name="connsiteX26" fmla="*/ 0 w 612068"/>
              <a:gd name="connsiteY26" fmla="*/ 244827 h 489654"/>
              <a:gd name="connsiteX27" fmla="*/ 244827 w 612068"/>
              <a:gd name="connsiteY27" fmla="*/ 0 h 489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12068" h="489654">
                <a:moveTo>
                  <a:pt x="550861" y="0"/>
                </a:moveTo>
                <a:cubicBezTo>
                  <a:pt x="584665" y="0"/>
                  <a:pt x="612068" y="27403"/>
                  <a:pt x="612068" y="61207"/>
                </a:cubicBezTo>
                <a:cubicBezTo>
                  <a:pt x="612068" y="95010"/>
                  <a:pt x="584665" y="122414"/>
                  <a:pt x="550861" y="122414"/>
                </a:cubicBezTo>
                <a:cubicBezTo>
                  <a:pt x="483254" y="122414"/>
                  <a:pt x="428448" y="177220"/>
                  <a:pt x="428448" y="244827"/>
                </a:cubicBezTo>
                <a:lnTo>
                  <a:pt x="488859" y="244827"/>
                </a:lnTo>
                <a:cubicBezTo>
                  <a:pt x="523102" y="244827"/>
                  <a:pt x="550861" y="272586"/>
                  <a:pt x="550861" y="306829"/>
                </a:cubicBezTo>
                <a:lnTo>
                  <a:pt x="550861" y="427652"/>
                </a:lnTo>
                <a:cubicBezTo>
                  <a:pt x="550861" y="461895"/>
                  <a:pt x="523102" y="489654"/>
                  <a:pt x="488859" y="489654"/>
                </a:cubicBezTo>
                <a:lnTo>
                  <a:pt x="368037" y="489654"/>
                </a:lnTo>
                <a:cubicBezTo>
                  <a:pt x="333794" y="489654"/>
                  <a:pt x="306034" y="461895"/>
                  <a:pt x="306034" y="427652"/>
                </a:cubicBezTo>
                <a:lnTo>
                  <a:pt x="306034" y="367241"/>
                </a:lnTo>
                <a:lnTo>
                  <a:pt x="306034" y="306829"/>
                </a:lnTo>
                <a:lnTo>
                  <a:pt x="306034" y="244827"/>
                </a:lnTo>
                <a:cubicBezTo>
                  <a:pt x="306034" y="109613"/>
                  <a:pt x="415647" y="0"/>
                  <a:pt x="550861" y="0"/>
                </a:cubicBezTo>
                <a:close/>
                <a:moveTo>
                  <a:pt x="244827" y="0"/>
                </a:moveTo>
                <a:cubicBezTo>
                  <a:pt x="278631" y="0"/>
                  <a:pt x="306034" y="27403"/>
                  <a:pt x="306034" y="61207"/>
                </a:cubicBezTo>
                <a:cubicBezTo>
                  <a:pt x="306034" y="95010"/>
                  <a:pt x="278631" y="122414"/>
                  <a:pt x="244827" y="122414"/>
                </a:cubicBezTo>
                <a:cubicBezTo>
                  <a:pt x="177220" y="122414"/>
                  <a:pt x="122414" y="177220"/>
                  <a:pt x="122414" y="244827"/>
                </a:cubicBezTo>
                <a:lnTo>
                  <a:pt x="182825" y="244827"/>
                </a:lnTo>
                <a:cubicBezTo>
                  <a:pt x="217068" y="244827"/>
                  <a:pt x="244827" y="272586"/>
                  <a:pt x="244827" y="306829"/>
                </a:cubicBezTo>
                <a:lnTo>
                  <a:pt x="244827" y="427652"/>
                </a:lnTo>
                <a:cubicBezTo>
                  <a:pt x="244827" y="461895"/>
                  <a:pt x="217068" y="489654"/>
                  <a:pt x="182825" y="489654"/>
                </a:cubicBezTo>
                <a:lnTo>
                  <a:pt x="62003" y="489654"/>
                </a:lnTo>
                <a:cubicBezTo>
                  <a:pt x="27760" y="489654"/>
                  <a:pt x="0" y="461895"/>
                  <a:pt x="0" y="427652"/>
                </a:cubicBezTo>
                <a:lnTo>
                  <a:pt x="0" y="367241"/>
                </a:lnTo>
                <a:lnTo>
                  <a:pt x="0" y="306829"/>
                </a:lnTo>
                <a:lnTo>
                  <a:pt x="0" y="244827"/>
                </a:lnTo>
                <a:cubicBezTo>
                  <a:pt x="0" y="109613"/>
                  <a:pt x="109613" y="0"/>
                  <a:pt x="244827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400" b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4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4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4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4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4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4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4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787610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3051F-5CCC-4B0F-A751-C70FD0BFE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903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2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3051F-5CCC-4B0F-A751-C70FD0BFE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Inhaltsplatzhalter 16">
            <a:extLst>
              <a:ext uri="{FF2B5EF4-FFF2-40B4-BE49-F238E27FC236}">
                <a16:creationId xmlns:a16="http://schemas.microsoft.com/office/drawing/2014/main" id="{92761EEB-C502-4832-A6D4-65C16FD7D8E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6550" y="1629200"/>
            <a:ext cx="3600450" cy="43207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3" name="!!Quelle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D038D9F-9CB7-4B4A-ACFF-3BA996E712D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FD5BA849-4DCA-451D-B57C-1AD3FB41DA33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4D5D41-693B-4E88-86B1-3EADCF728CE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FE3A6FB-0C3A-4870-B34E-66BEDBAAF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Titelformat durch Klicken bearbeiten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2E3BA1-B2E9-403C-9040-D25727608F7E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4297588" y="1628775"/>
            <a:ext cx="3600226" cy="43211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04BEB93F-77F4-4D08-A644-0F84854579CE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257587" y="1628775"/>
            <a:ext cx="3601038" cy="4321174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0728862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extern vor Sparkass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6CD355B-1BFE-459B-B4A7-CBEE6B68F3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435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6CD355B-1BFE-459B-B4A7-CBEE6B68F3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5AE25C77-3BE9-4D9D-8808-4F8E48CAFC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3720" r="7657"/>
          <a:stretch/>
        </p:blipFill>
        <p:spPr>
          <a:xfrm flipH="1">
            <a:off x="-3" y="0"/>
            <a:ext cx="7897787" cy="5949950"/>
          </a:xfrm>
          <a:prstGeom prst="rect">
            <a:avLst/>
          </a:prstGeom>
        </p:spPr>
      </p:pic>
      <p:sp>
        <p:nvSpPr>
          <p:cNvPr id="32" name="Rechteck 31">
            <a:extLst>
              <a:ext uri="{FF2B5EF4-FFF2-40B4-BE49-F238E27FC236}">
                <a16:creationId xmlns:a16="http://schemas.microsoft.com/office/drawing/2014/main" id="{C1198686-DE28-4051-A303-732B2DF3AF69}"/>
              </a:ext>
            </a:extLst>
          </p:cNvPr>
          <p:cNvSpPr/>
          <p:nvPr userDrawn="1"/>
        </p:nvSpPr>
        <p:spPr bwMode="gray">
          <a:xfrm>
            <a:off x="7897787" y="0"/>
            <a:ext cx="4297388" cy="5949950"/>
          </a:xfrm>
          <a:prstGeom prst="rect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46F336C9-F463-438D-BAA9-02F6BB337E00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266238" y="6165304"/>
            <a:ext cx="2591989" cy="418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</p:pic>
      <p:sp>
        <p:nvSpPr>
          <p:cNvPr id="12" name="TextBox 1">
            <a:extLst>
              <a:ext uri="{FF2B5EF4-FFF2-40B4-BE49-F238E27FC236}">
                <a16:creationId xmlns:a16="http://schemas.microsoft.com/office/drawing/2014/main" id="{56B0B1F3-5278-45D0-8C72-A129AC0C2F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gray">
          <a:xfrm>
            <a:off x="336947" y="6475935"/>
            <a:ext cx="2356625" cy="3868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sz="950" b="0" i="0" u="none" strike="noStrike" kern="1200" cap="none" spc="0" normalizeH="0" baseline="0" noProof="0" dirty="0">
                <a:ln>
                  <a:noFill/>
                </a:ln>
                <a:solidFill>
                  <a:srgbClr val="444B5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parkassen-Finanzgruppe</a:t>
            </a:r>
          </a:p>
        </p:txBody>
      </p:sp>
      <p:sp>
        <p:nvSpPr>
          <p:cNvPr id="38" name="Titel 37">
            <a:extLst>
              <a:ext uri="{FF2B5EF4-FFF2-40B4-BE49-F238E27FC236}">
                <a16:creationId xmlns:a16="http://schemas.microsoft.com/office/drawing/2014/main" id="{83E8E926-86FA-4FD1-AE0B-EF24CE1508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3611" y="1628800"/>
            <a:ext cx="5881564" cy="2736304"/>
          </a:xfrm>
          <a:solidFill>
            <a:schemeClr val="tx2"/>
          </a:solidFill>
          <a:ln>
            <a:noFill/>
          </a:ln>
        </p:spPr>
        <p:txBody>
          <a:bodyPr vert="horz" lIns="360000" tIns="216000" rIns="360000" bIns="216000" anchor="t"/>
          <a:lstStyle>
            <a:lvl1pPr>
              <a:defRPr sz="4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313611" y="3140968"/>
            <a:ext cx="5881564" cy="1224000"/>
          </a:xfrm>
          <a:prstGeom prst="rect">
            <a:avLst/>
          </a:prstGeom>
          <a:noFill/>
          <a:ln>
            <a:noFill/>
          </a:ln>
        </p:spPr>
        <p:txBody>
          <a:bodyPr wrap="square" lIns="360000" tIns="144000" rIns="360000" bIns="144000" rtlCol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9pPr>
          </a:lstStyle>
          <a:p>
            <a:pPr lvl="0"/>
            <a:r>
              <a:rPr lang="de-DE" dirty="0"/>
              <a:t>Untertitel der Präsentation</a:t>
            </a:r>
          </a:p>
        </p:txBody>
      </p:sp>
      <p:grpSp>
        <p:nvGrpSpPr>
          <p:cNvPr id="2" name="Grafik 17">
            <a:extLst>
              <a:ext uri="{FF2B5EF4-FFF2-40B4-BE49-F238E27FC236}">
                <a16:creationId xmlns:a16="http://schemas.microsoft.com/office/drawing/2014/main" id="{BEAC07EF-E3FD-4DD2-B2C2-7C7C51C1814E}"/>
              </a:ext>
            </a:extLst>
          </p:cNvPr>
          <p:cNvGrpSpPr/>
          <p:nvPr/>
        </p:nvGrpSpPr>
        <p:grpSpPr>
          <a:xfrm>
            <a:off x="11426227" y="332656"/>
            <a:ext cx="431956" cy="432000"/>
            <a:chOff x="11426227" y="332656"/>
            <a:chExt cx="431956" cy="432000"/>
          </a:xfrm>
          <a:solidFill>
            <a:srgbClr val="FFFFFF"/>
          </a:solidFill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5D47A859-548D-4B89-B763-37FEC4785CC2}"/>
                </a:ext>
              </a:extLst>
            </p:cNvPr>
            <p:cNvSpPr/>
            <p:nvPr/>
          </p:nvSpPr>
          <p:spPr>
            <a:xfrm>
              <a:off x="11664777" y="592331"/>
              <a:ext cx="66225" cy="172281"/>
            </a:xfrm>
            <a:custGeom>
              <a:avLst/>
              <a:gdLst>
                <a:gd name="connsiteX0" fmla="*/ 0 w 66225"/>
                <a:gd name="connsiteY0" fmla="*/ 0 h 172281"/>
                <a:gd name="connsiteX1" fmla="*/ 66226 w 66225"/>
                <a:gd name="connsiteY1" fmla="*/ 0 h 172281"/>
                <a:gd name="connsiteX2" fmla="*/ 66226 w 66225"/>
                <a:gd name="connsiteY2" fmla="*/ 172282 h 172281"/>
                <a:gd name="connsiteX3" fmla="*/ 0 w 66225"/>
                <a:gd name="connsiteY3" fmla="*/ 172282 h 172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5" h="172281">
                  <a:moveTo>
                    <a:pt x="0" y="0"/>
                  </a:moveTo>
                  <a:lnTo>
                    <a:pt x="66226" y="0"/>
                  </a:lnTo>
                  <a:lnTo>
                    <a:pt x="66226" y="172282"/>
                  </a:lnTo>
                  <a:lnTo>
                    <a:pt x="0" y="172282"/>
                  </a:lnTo>
                  <a:close/>
                </a:path>
              </a:pathLst>
            </a:custGeom>
            <a:solidFill>
              <a:srgbClr val="FFFFFF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DEDA988C-7607-4BC9-BB07-5CAE6795BBC1}"/>
                </a:ext>
              </a:extLst>
            </p:cNvPr>
            <p:cNvSpPr/>
            <p:nvPr/>
          </p:nvSpPr>
          <p:spPr>
            <a:xfrm>
              <a:off x="11426227" y="332656"/>
              <a:ext cx="431956" cy="432000"/>
            </a:xfrm>
            <a:custGeom>
              <a:avLst/>
              <a:gdLst>
                <a:gd name="connsiteX0" fmla="*/ 340675 w 431956"/>
                <a:gd name="connsiteY0" fmla="*/ 0 h 432000"/>
                <a:gd name="connsiteX1" fmla="*/ 91325 w 431956"/>
                <a:gd name="connsiteY1" fmla="*/ 0 h 432000"/>
                <a:gd name="connsiteX2" fmla="*/ 0 w 431956"/>
                <a:gd name="connsiteY2" fmla="*/ 91325 h 432000"/>
                <a:gd name="connsiteX3" fmla="*/ 0 w 431956"/>
                <a:gd name="connsiteY3" fmla="*/ 340675 h 432000"/>
                <a:gd name="connsiteX4" fmla="*/ 91325 w 431956"/>
                <a:gd name="connsiteY4" fmla="*/ 432000 h 432000"/>
                <a:gd name="connsiteX5" fmla="*/ 182477 w 431956"/>
                <a:gd name="connsiteY5" fmla="*/ 432000 h 432000"/>
                <a:gd name="connsiteX6" fmla="*/ 182477 w 431956"/>
                <a:gd name="connsiteY6" fmla="*/ 259675 h 432000"/>
                <a:gd name="connsiteX7" fmla="*/ 160358 w 431956"/>
                <a:gd name="connsiteY7" fmla="*/ 259675 h 432000"/>
                <a:gd name="connsiteX8" fmla="*/ 160358 w 431956"/>
                <a:gd name="connsiteY8" fmla="*/ 215741 h 432000"/>
                <a:gd name="connsiteX9" fmla="*/ 182563 w 431956"/>
                <a:gd name="connsiteY9" fmla="*/ 215741 h 432000"/>
                <a:gd name="connsiteX10" fmla="*/ 182563 w 431956"/>
                <a:gd name="connsiteY10" fmla="*/ 182909 h 432000"/>
                <a:gd name="connsiteX11" fmla="*/ 251640 w 431956"/>
                <a:gd name="connsiteY11" fmla="*/ 115344 h 432000"/>
                <a:gd name="connsiteX12" fmla="*/ 282139 w 431956"/>
                <a:gd name="connsiteY12" fmla="*/ 117418 h 432000"/>
                <a:gd name="connsiteX13" fmla="*/ 282139 w 431956"/>
                <a:gd name="connsiteY13" fmla="*/ 159062 h 432000"/>
                <a:gd name="connsiteX14" fmla="*/ 267106 w 431956"/>
                <a:gd name="connsiteY14" fmla="*/ 158069 h 432000"/>
                <a:gd name="connsiteX15" fmla="*/ 238205 w 431956"/>
                <a:gd name="connsiteY15" fmla="*/ 189821 h 432000"/>
                <a:gd name="connsiteX16" fmla="*/ 238205 w 431956"/>
                <a:gd name="connsiteY16" fmla="*/ 215698 h 432000"/>
                <a:gd name="connsiteX17" fmla="*/ 360115 w 431956"/>
                <a:gd name="connsiteY17" fmla="*/ 215698 h 432000"/>
                <a:gd name="connsiteX18" fmla="*/ 360115 w 431956"/>
                <a:gd name="connsiteY18" fmla="*/ 429883 h 432000"/>
                <a:gd name="connsiteX19" fmla="*/ 431957 w 431956"/>
                <a:gd name="connsiteY19" fmla="*/ 340675 h 432000"/>
                <a:gd name="connsiteX20" fmla="*/ 431957 w 431956"/>
                <a:gd name="connsiteY20" fmla="*/ 91325 h 432000"/>
                <a:gd name="connsiteX21" fmla="*/ 340675 w 431956"/>
                <a:gd name="connsiteY21" fmla="*/ 0 h 432000"/>
                <a:gd name="connsiteX22" fmla="*/ 333461 w 431956"/>
                <a:gd name="connsiteY22" fmla="*/ 182563 h 432000"/>
                <a:gd name="connsiteX23" fmla="*/ 299851 w 431956"/>
                <a:gd name="connsiteY23" fmla="*/ 148954 h 432000"/>
                <a:gd name="connsiteX24" fmla="*/ 333461 w 431956"/>
                <a:gd name="connsiteY24" fmla="*/ 115344 h 432000"/>
                <a:gd name="connsiteX25" fmla="*/ 367070 w 431956"/>
                <a:gd name="connsiteY25" fmla="*/ 148954 h 432000"/>
                <a:gd name="connsiteX26" fmla="*/ 333461 w 431956"/>
                <a:gd name="connsiteY26" fmla="*/ 182563 h 43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31956" h="432000">
                  <a:moveTo>
                    <a:pt x="340675" y="0"/>
                  </a:moveTo>
                  <a:lnTo>
                    <a:pt x="91325" y="0"/>
                  </a:lnTo>
                  <a:cubicBezTo>
                    <a:pt x="40867" y="0"/>
                    <a:pt x="0" y="40867"/>
                    <a:pt x="0" y="91325"/>
                  </a:cubicBezTo>
                  <a:lnTo>
                    <a:pt x="0" y="340675"/>
                  </a:lnTo>
                  <a:cubicBezTo>
                    <a:pt x="0" y="391090"/>
                    <a:pt x="40867" y="432000"/>
                    <a:pt x="91325" y="432000"/>
                  </a:cubicBezTo>
                  <a:lnTo>
                    <a:pt x="182477" y="432000"/>
                  </a:lnTo>
                  <a:lnTo>
                    <a:pt x="182477" y="259675"/>
                  </a:lnTo>
                  <a:lnTo>
                    <a:pt x="160358" y="259675"/>
                  </a:lnTo>
                  <a:lnTo>
                    <a:pt x="160358" y="215741"/>
                  </a:lnTo>
                  <a:lnTo>
                    <a:pt x="182563" y="215741"/>
                  </a:lnTo>
                  <a:lnTo>
                    <a:pt x="182563" y="182909"/>
                  </a:lnTo>
                  <a:cubicBezTo>
                    <a:pt x="182563" y="137333"/>
                    <a:pt x="209693" y="115344"/>
                    <a:pt x="251640" y="115344"/>
                  </a:cubicBezTo>
                  <a:cubicBezTo>
                    <a:pt x="263434" y="115344"/>
                    <a:pt x="273067" y="116208"/>
                    <a:pt x="282139" y="117418"/>
                  </a:cubicBezTo>
                  <a:lnTo>
                    <a:pt x="282139" y="159062"/>
                  </a:lnTo>
                  <a:cubicBezTo>
                    <a:pt x="277042" y="158501"/>
                    <a:pt x="272462" y="158069"/>
                    <a:pt x="267106" y="158069"/>
                  </a:cubicBezTo>
                  <a:cubicBezTo>
                    <a:pt x="247968" y="158069"/>
                    <a:pt x="238205" y="166190"/>
                    <a:pt x="238205" y="189821"/>
                  </a:cubicBezTo>
                  <a:lnTo>
                    <a:pt x="238205" y="215698"/>
                  </a:lnTo>
                  <a:lnTo>
                    <a:pt x="360115" y="215698"/>
                  </a:lnTo>
                  <a:lnTo>
                    <a:pt x="360115" y="429883"/>
                  </a:lnTo>
                  <a:cubicBezTo>
                    <a:pt x="401198" y="420941"/>
                    <a:pt x="431957" y="384394"/>
                    <a:pt x="431957" y="340675"/>
                  </a:cubicBezTo>
                  <a:lnTo>
                    <a:pt x="431957" y="91325"/>
                  </a:lnTo>
                  <a:cubicBezTo>
                    <a:pt x="432000" y="40867"/>
                    <a:pt x="391133" y="0"/>
                    <a:pt x="340675" y="0"/>
                  </a:cubicBezTo>
                  <a:close/>
                  <a:moveTo>
                    <a:pt x="333461" y="182563"/>
                  </a:moveTo>
                  <a:cubicBezTo>
                    <a:pt x="314885" y="182563"/>
                    <a:pt x="299851" y="167530"/>
                    <a:pt x="299851" y="148954"/>
                  </a:cubicBezTo>
                  <a:cubicBezTo>
                    <a:pt x="299851" y="130378"/>
                    <a:pt x="314885" y="115344"/>
                    <a:pt x="333461" y="115344"/>
                  </a:cubicBezTo>
                  <a:cubicBezTo>
                    <a:pt x="352037" y="115344"/>
                    <a:pt x="367070" y="130378"/>
                    <a:pt x="367070" y="148954"/>
                  </a:cubicBezTo>
                  <a:cubicBezTo>
                    <a:pt x="367070" y="167530"/>
                    <a:pt x="352037" y="182563"/>
                    <a:pt x="333461" y="182563"/>
                  </a:cubicBezTo>
                  <a:close/>
                </a:path>
              </a:pathLst>
            </a:custGeom>
            <a:solidFill>
              <a:srgbClr val="FFFFFF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3065454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3051F-5CCC-4B0F-A751-C70FD0BFE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2452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6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3051F-5CCC-4B0F-A751-C70FD0BFE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!!Quelle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D038D9F-9CB7-4B4A-ACFF-3BA996E712D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46759A05-3F1F-4054-B801-DB2239F68403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4D5D41-693B-4E88-86B1-3EADCF728CE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FE3A6FB-0C3A-4870-B34E-66BEDBAAF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Titelformat durch Klicken bearbeiten</a:t>
            </a:r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04BEB93F-77F4-4D08-A644-0F84854579CE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37587" y="1629000"/>
            <a:ext cx="3601038" cy="2736000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A99A490E-66E2-4291-843B-C48F003BA42D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297587" y="1629000"/>
            <a:ext cx="3601038" cy="2736000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F66662CF-6FBE-40A3-B486-32CE5222BBA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8257587" y="1629000"/>
            <a:ext cx="3601038" cy="2736000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9B0D1C3-95AC-49D3-9219-57B7BD00D4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37587" y="4653000"/>
            <a:ext cx="3600000" cy="129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E967303-F377-464E-800F-D0AA8BEB537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97587" y="4653000"/>
            <a:ext cx="3600000" cy="129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9777885B-0992-403C-8E93-DF2F1EF81B1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05587" y="3933000"/>
            <a:ext cx="2953038" cy="2016000"/>
          </a:xfrm>
          <a:solidFill>
            <a:schemeClr val="bg2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1487990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3051F-5CCC-4B0F-A751-C70FD0BFE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934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0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3051F-5CCC-4B0F-A751-C70FD0BFE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!!Quelle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D038D9F-9CB7-4B4A-ACFF-3BA996E712D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F8A1DAC2-79D9-45DE-A3E5-E10A9FA094B3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4D5D41-693B-4E88-86B1-3EADCF728CE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FE3A6FB-0C3A-4870-B34E-66BEDBAAF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Titelformat durch Klicken bearbeiten</a:t>
            </a:r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04BEB93F-77F4-4D08-A644-0F84854579CE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37587" y="3861000"/>
            <a:ext cx="2952000" cy="2088000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A99A490E-66E2-4291-843B-C48F003BA42D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937587" y="1629000"/>
            <a:ext cx="4320000" cy="4320950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F66662CF-6FBE-40A3-B486-32CE5222BBA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8905587" y="1629000"/>
            <a:ext cx="2953038" cy="2088000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9B0D1C3-95AC-49D3-9219-57B7BD00D4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37587" y="1629000"/>
            <a:ext cx="2952000" cy="194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9777885B-0992-403C-8E93-DF2F1EF81B1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13587" y="4365000"/>
            <a:ext cx="5545038" cy="1584000"/>
          </a:xfrm>
          <a:solidFill>
            <a:schemeClr val="bg2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7699114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tory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3051F-5CCC-4B0F-A751-C70FD0BFE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0417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4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3051F-5CCC-4B0F-A751-C70FD0BFE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F66662CF-6FBE-40A3-B486-32CE5222BBA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65587" y="333000"/>
            <a:ext cx="2593038" cy="2664000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</a:t>
            </a:r>
            <a:br>
              <a:rPr lang="de-DE" dirty="0"/>
            </a:br>
            <a:r>
              <a:rPr lang="de-DE" dirty="0"/>
              <a:t>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  <p:sp>
        <p:nvSpPr>
          <p:cNvPr id="33" name="!!Quelle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D038D9F-9CB7-4B4A-ACFF-3BA996E712D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04233B30-5647-4046-BA11-D93B094E0306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4D5D41-693B-4E88-86B1-3EADCF728CE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04BEB93F-77F4-4D08-A644-0F84854579CE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37587" y="2349000"/>
            <a:ext cx="2592000" cy="3600000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</a:t>
            </a:r>
            <a:br>
              <a:rPr lang="de-DE" dirty="0"/>
            </a:br>
            <a:r>
              <a:rPr lang="de-DE" dirty="0"/>
              <a:t>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A99A490E-66E2-4291-843B-C48F003BA42D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9587" y="333000"/>
            <a:ext cx="5616000" cy="5616950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9777885B-0992-403C-8E93-DF2F1EF81B1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7587" y="333000"/>
            <a:ext cx="3600000" cy="1656000"/>
          </a:xfrm>
          <a:solidFill>
            <a:schemeClr val="bg2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243E4211-11A2-47D9-B1BE-73045203DA18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9265587" y="3357000"/>
            <a:ext cx="2593038" cy="2592000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</a:t>
            </a:r>
            <a:br>
              <a:rPr lang="de-DE" dirty="0"/>
            </a:br>
            <a:r>
              <a:rPr lang="de-DE" dirty="0"/>
              <a:t>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1058752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tory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3051F-5CCC-4B0F-A751-C70FD0BFE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3028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8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3051F-5CCC-4B0F-A751-C70FD0BFE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A99A490E-66E2-4291-843B-C48F003BA42D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297587" y="3357000"/>
            <a:ext cx="7560000" cy="2592000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31CED4C5-76C9-4EB0-BDE1-DF0996277B2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257588" y="0"/>
            <a:ext cx="3937587" cy="3789000"/>
          </a:xfrm>
          <a:solidFill>
            <a:schemeClr val="bg2"/>
          </a:solidFill>
        </p:spPr>
        <p:txBody>
          <a:bodyPr lIns="288000" tIns="324000" rIns="342000" bIns="21600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3" name="!!Quelle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D038D9F-9CB7-4B4A-ACFF-3BA996E712D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B4B0F069-4A89-4231-8725-6B982EFD84A0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4D5D41-693B-4E88-86B1-3EADCF728CE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04BEB93F-77F4-4D08-A644-0F84854579CE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37587" y="333000"/>
            <a:ext cx="7560000" cy="2664000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9777885B-0992-403C-8E93-DF2F1EF81B1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-1" y="2565000"/>
            <a:ext cx="3937587" cy="3384000"/>
          </a:xfrm>
          <a:solidFill>
            <a:schemeClr val="bg2"/>
          </a:solidFill>
        </p:spPr>
        <p:txBody>
          <a:bodyPr lIns="342000" tIns="216000" rIns="288000" bIns="21600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7816588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tory v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3051F-5CCC-4B0F-A751-C70FD0BFE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6423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2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3051F-5CCC-4B0F-A751-C70FD0BFE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A99A490E-66E2-4291-843B-C48F003BA42D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37587" y="3861000"/>
            <a:ext cx="3600000" cy="2088000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  <p:sp>
        <p:nvSpPr>
          <p:cNvPr id="33" name="!!Quelle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D038D9F-9CB7-4B4A-ACFF-3BA996E712D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7CBBE9CA-11FD-4E5E-8182-5377402B78A5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4D5D41-693B-4E88-86B1-3EADCF728CE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04BEB93F-77F4-4D08-A644-0F84854579CE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37587" y="1629000"/>
            <a:ext cx="3600000" cy="1872000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9777885B-0992-403C-8E93-DF2F1EF81B1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97588" y="333000"/>
            <a:ext cx="3600000" cy="5616950"/>
          </a:xfrm>
          <a:solidFill>
            <a:schemeClr val="bg2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F8DAB07F-1EEE-4C2B-92DD-F80DA97F649E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8257587" y="333000"/>
            <a:ext cx="3600000" cy="5616001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4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B40E1D1-E6D6-4CC5-9A96-AA00C689B3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947" y="333000"/>
            <a:ext cx="3600640" cy="935760"/>
          </a:xfrm>
        </p:spPr>
        <p:txBody>
          <a:bodyPr vert="horz"/>
          <a:lstStyle/>
          <a:p>
            <a:r>
              <a:rPr lang="de-DE" dirty="0"/>
              <a:t>Titel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600798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boxen mit Hervorhe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3051F-5CCC-4B0F-A751-C70FD0BFE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1890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6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3051F-5CCC-4B0F-A751-C70FD0BFE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04BEB93F-77F4-4D08-A644-0F84854579CE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37587" y="3429000"/>
            <a:ext cx="11521038" cy="2520000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  <p:sp>
        <p:nvSpPr>
          <p:cNvPr id="33" name="!!Quelle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D038D9F-9CB7-4B4A-ACFF-3BA996E712D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2396CBDB-02FC-4254-853F-12ECAB83C32A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4D5D41-693B-4E88-86B1-3EADCF728CE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FE3A6FB-0C3A-4870-B34E-66BEDBAAF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Titelformat durch Klicken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9B0D1C3-95AC-49D3-9219-57B7BD00D4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13587" y="1629000"/>
            <a:ext cx="3024000" cy="1656000"/>
          </a:xfrm>
        </p:spPr>
        <p:txBody>
          <a:bodyPr tIns="216000" bIns="216000"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E967303-F377-464E-800F-D0AA8BEB537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585587" y="1629000"/>
            <a:ext cx="3024000" cy="1656000"/>
          </a:xfrm>
        </p:spPr>
        <p:txBody>
          <a:bodyPr tIns="216000" bIns="216000"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9777885B-0992-403C-8E93-DF2F1EF81B1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257587" y="1629000"/>
            <a:ext cx="3024000" cy="3456000"/>
          </a:xfrm>
          <a:solidFill>
            <a:schemeClr val="bg2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4833F95-027C-4C56-9968-988743E7E84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 rot="5400000">
            <a:off x="8257827" y="4365184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2"/>
                </a:gs>
                <a:gs pos="90000">
                  <a:schemeClr val="tx2">
                    <a:alpha val="0"/>
                  </a:schemeClr>
                </a:gs>
              </a:gsLst>
              <a:lin ang="0" scaled="0"/>
              <a:tileRect/>
            </a:gradFill>
          </a:ln>
        </p:spPr>
        <p:txBody>
          <a:bodyPr vert="vert270" wrap="none" lIns="0" tIns="0" rIns="36000" bIns="288000" rtlCol="0" anchor="ctr">
            <a:noAutofit/>
          </a:bodyPr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dirty="0">
                <a:solidFill>
                  <a:schemeClr val="tx2"/>
                </a:solidFill>
                <a:latin typeface="+mj-lt"/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3600" b="1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443086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Textkombin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3051F-5CCC-4B0F-A751-C70FD0BFE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6375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0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3051F-5CCC-4B0F-A751-C70FD0BFE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E967303-F377-464E-800F-D0AA8BEB537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97587" y="0"/>
            <a:ext cx="7897588" cy="5949950"/>
          </a:xfrm>
          <a:solidFill>
            <a:srgbClr val="DDE0E3"/>
          </a:solidFill>
        </p:spPr>
        <p:txBody>
          <a:bodyPr lIns="1368000" tIns="4068000" rIns="432000" bIns="288000" anchor="t" anchorCtr="0"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04BEB93F-77F4-4D08-A644-0F84854579CE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1629000"/>
            <a:ext cx="4297587" cy="2592000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  <p:sp>
        <p:nvSpPr>
          <p:cNvPr id="33" name="!!Quelle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D038D9F-9CB7-4B4A-ACFF-3BA996E712D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D95A063A-95C0-47E7-87EB-A0233A148CF0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4D5D41-693B-4E88-86B1-3EADCF728CE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FE3A6FB-0C3A-4870-B34E-66BEDBAAF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947" y="333000"/>
            <a:ext cx="3600640" cy="935760"/>
          </a:xfrm>
        </p:spPr>
        <p:txBody>
          <a:bodyPr vert="horz"/>
          <a:lstStyle/>
          <a:p>
            <a:r>
              <a:rPr lang="de-DE" dirty="0"/>
              <a:t>Titelformat durch Klicken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9B0D1C3-95AC-49D3-9219-57B7BD00D4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05587" y="3789000"/>
            <a:ext cx="2592000" cy="2160000"/>
          </a:xfrm>
          <a:solidFill>
            <a:schemeClr val="bg2"/>
          </a:solidFill>
        </p:spPr>
        <p:txBody>
          <a:bodyPr lIns="288000" tIns="288000" rIns="288000" bIns="14400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000" b="0" i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000" b="0" i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000" b="0" i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000" b="0" i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000" b="0" i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000" b="0" i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000" b="0" i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000" b="0" i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000" b="0" i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Mastertextformat bearbeiten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9777885B-0992-403C-8E93-DF2F1EF81B1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657587" y="1485000"/>
            <a:ext cx="7201038" cy="1944000"/>
          </a:xfrm>
          <a:noFill/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80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80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80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800">
                <a:solidFill>
                  <a:schemeClr val="tx1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800">
                <a:solidFill>
                  <a:schemeClr val="tx1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800">
                <a:solidFill>
                  <a:schemeClr val="tx1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800">
                <a:solidFill>
                  <a:schemeClr val="tx1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8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XX</a:t>
            </a:r>
          </a:p>
          <a:p>
            <a:pPr lvl="1"/>
            <a:r>
              <a:rPr lang="de-DE" dirty="0"/>
              <a:t>Lorem </a:t>
            </a:r>
            <a:r>
              <a:rPr lang="de-DE" dirty="0" err="1"/>
              <a:t>ipsum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4833F95-027C-4C56-9968-988743E7E84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 rot="5400000">
            <a:off x="4297387" y="2493000"/>
            <a:ext cx="936000" cy="936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wrap="none" lIns="0" tIns="0" rIns="72000" bIns="288000" rtlCol="0"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4400" b="1" dirty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4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4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4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44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FontTx/>
              <a:buNone/>
              <a:defRPr sz="44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44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44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4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949335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Textkombination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3051F-5CCC-4B0F-A751-C70FD0BFE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7013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4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3051F-5CCC-4B0F-A751-C70FD0BFE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565CF8C-BF8C-4515-9BD1-375507324E1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881688" y="0"/>
            <a:ext cx="6313487" cy="5949950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F181E7D-FE2A-42D4-8143-65542C46560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1628775"/>
            <a:ext cx="6313488" cy="4321175"/>
          </a:xfrm>
          <a:solidFill>
            <a:srgbClr val="FF0000"/>
          </a:solidFill>
        </p:spPr>
        <p:txBody>
          <a:bodyPr lIns="914400" tIns="1224000" rIns="28800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800" b="1">
                <a:solidFill>
                  <a:schemeClr val="tx2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Tx/>
              <a:buNone/>
              <a:defRPr sz="1800"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XX€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3" name="!!Quelle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D038D9F-9CB7-4B4A-ACFF-3BA996E712D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B3E4D8AC-907D-4C78-8BC3-7B103D0BFB2D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4D5D41-693B-4E88-86B1-3EADCF728CE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28CBF1EA-FB19-485E-B82E-393004791A6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 rot="5400000">
            <a:off x="-10800" y="1639800"/>
            <a:ext cx="936000" cy="9144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2">
                    <a:alpha val="0"/>
                  </a:schemeClr>
                </a:gs>
                <a:gs pos="90000">
                  <a:schemeClr val="tx2"/>
                </a:gs>
              </a:gsLst>
              <a:lin ang="0" scaled="0"/>
              <a:tileRect/>
            </a:gradFill>
          </a:ln>
        </p:spPr>
        <p:txBody>
          <a:bodyPr vert="vert270" wrap="none" lIns="0" tIns="0" rIns="72000" bIns="180000" rtlCol="0"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4400" dirty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44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44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44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44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44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44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44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4400" b="1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8CCEDF7-CAD3-4C81-8850-E842D7186C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947" y="333000"/>
            <a:ext cx="5112640" cy="935760"/>
          </a:xfrm>
        </p:spPr>
        <p:txBody>
          <a:bodyPr vert="horz"/>
          <a:lstStyle/>
          <a:p>
            <a:r>
              <a:rPr lang="de-DE" dirty="0"/>
              <a:t>Titel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496097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Textkombination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3051F-5CCC-4B0F-A751-C70FD0BFE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6874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8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3051F-5CCC-4B0F-A751-C70FD0BFE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04BEB93F-77F4-4D08-A644-0F84854579CE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36550" y="1629000"/>
            <a:ext cx="8569037" cy="4320950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  <p:sp>
        <p:nvSpPr>
          <p:cNvPr id="33" name="!!Quelle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D038D9F-9CB7-4B4A-ACFF-3BA996E712D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297788CF-67F8-4D86-A430-D10E85D12A0C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4D5D41-693B-4E88-86B1-3EADCF728CE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FE3A6FB-0C3A-4870-B34E-66BEDBAAF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947" y="333000"/>
            <a:ext cx="11521678" cy="935760"/>
          </a:xfrm>
        </p:spPr>
        <p:txBody>
          <a:bodyPr vert="horz"/>
          <a:lstStyle/>
          <a:p>
            <a:r>
              <a:rPr lang="de-DE" dirty="0"/>
              <a:t>Titelformat durch Klicken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9B0D1C3-95AC-49D3-9219-57B7BD00D4F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265587" y="3717000"/>
            <a:ext cx="2592000" cy="2232000"/>
          </a:xfrm>
          <a:noFill/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000" b="0" i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000" b="0" i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000" b="0" i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000" b="0" i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000" b="0" i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000" b="0" i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000" b="0" i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000" b="0" i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9777885B-0992-403C-8E93-DF2F1EF81B1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65587" y="1485000"/>
            <a:ext cx="2592000" cy="1944000"/>
          </a:xfrm>
          <a:noFill/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80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80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80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800">
                <a:solidFill>
                  <a:schemeClr val="tx1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800">
                <a:solidFill>
                  <a:schemeClr val="tx1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800">
                <a:solidFill>
                  <a:schemeClr val="tx1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800">
                <a:solidFill>
                  <a:schemeClr val="tx1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8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XX</a:t>
            </a:r>
          </a:p>
          <a:p>
            <a:pPr lvl="1"/>
            <a:r>
              <a:rPr lang="de-DE" dirty="0"/>
              <a:t>Lorem </a:t>
            </a:r>
            <a:r>
              <a:rPr lang="de-DE" dirty="0" err="1"/>
              <a:t>ipsu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4833F95-027C-4C56-9968-988743E7E84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 rot="5400000">
            <a:off x="8905899" y="2493000"/>
            <a:ext cx="936000" cy="936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wrap="none" lIns="0" tIns="0" rIns="72000" bIns="324000" rtlCol="0"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4400" b="1" dirty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4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4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4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44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FontTx/>
              <a:buNone/>
              <a:defRPr sz="44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44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44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4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881003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13051F-5CCC-4B0F-A751-C70FD0BFE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9416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2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13051F-5CCC-4B0F-A751-C70FD0BFE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04BEB93F-77F4-4D08-A644-0F84854579CE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5175" cy="5949000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9777885B-0992-403C-8E93-DF2F1EF81B1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257587" y="0"/>
            <a:ext cx="3601038" cy="3285000"/>
          </a:xfrm>
          <a:solidFill>
            <a:schemeClr val="bg2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4833F95-027C-4C56-9968-988743E7E84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 rot="5400000">
            <a:off x="8257827" y="2564984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2"/>
                </a:gs>
                <a:gs pos="90000">
                  <a:schemeClr val="tx2">
                    <a:alpha val="0"/>
                  </a:schemeClr>
                </a:gs>
              </a:gsLst>
              <a:lin ang="0" scaled="0"/>
              <a:tileRect/>
            </a:gradFill>
          </a:ln>
        </p:spPr>
        <p:txBody>
          <a:bodyPr vert="vert270" wrap="none" lIns="0" tIns="0" rIns="72000" bIns="288000" rtlCol="0" anchor="ctr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3600" b="1" dirty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36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lang="de-DE" sz="36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lang="de-DE" sz="3600" b="1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lang="de-DE" sz="3600" b="1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3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3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3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3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3" name="!!Quelle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D038D9F-9CB7-4B4A-ACFF-3BA996E712D5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E0872B44-4A7E-4975-9832-1F5A5C801B53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4D5D41-693B-4E88-86B1-3EADCF728CE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24474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Bereich Innovati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6CD355B-1BFE-459B-B4A7-CBEE6B68F3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9019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6CD355B-1BFE-459B-B4A7-CBEE6B68F3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>
            <a:extLst>
              <a:ext uri="{FF2B5EF4-FFF2-40B4-BE49-F238E27FC236}">
                <a16:creationId xmlns:a16="http://schemas.microsoft.com/office/drawing/2014/main" id="{D7920529-48BA-414C-9887-C35571EFE9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14023" t="2369" r="4010" b="5068"/>
          <a:stretch/>
        </p:blipFill>
        <p:spPr>
          <a:xfrm>
            <a:off x="0" y="0"/>
            <a:ext cx="7897787" cy="5949280"/>
          </a:xfrm>
          <a:prstGeom prst="rect">
            <a:avLst/>
          </a:prstGeom>
        </p:spPr>
      </p:pic>
      <p:sp>
        <p:nvSpPr>
          <p:cNvPr id="32" name="Rechteck 31">
            <a:extLst>
              <a:ext uri="{FF2B5EF4-FFF2-40B4-BE49-F238E27FC236}">
                <a16:creationId xmlns:a16="http://schemas.microsoft.com/office/drawing/2014/main" id="{C1198686-DE28-4051-A303-732B2DF3AF69}"/>
              </a:ext>
            </a:extLst>
          </p:cNvPr>
          <p:cNvSpPr/>
          <p:nvPr userDrawn="1"/>
        </p:nvSpPr>
        <p:spPr bwMode="gray">
          <a:xfrm>
            <a:off x="7897787" y="0"/>
            <a:ext cx="4297388" cy="5949950"/>
          </a:xfrm>
          <a:prstGeom prst="rect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46F336C9-F463-438D-BAA9-02F6BB337E00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266238" y="6165304"/>
            <a:ext cx="2591989" cy="418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</p:pic>
      <p:sp>
        <p:nvSpPr>
          <p:cNvPr id="12" name="TextBox 1">
            <a:extLst>
              <a:ext uri="{FF2B5EF4-FFF2-40B4-BE49-F238E27FC236}">
                <a16:creationId xmlns:a16="http://schemas.microsoft.com/office/drawing/2014/main" id="{56B0B1F3-5278-45D0-8C72-A129AC0C2F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gray">
          <a:xfrm>
            <a:off x="336947" y="6475935"/>
            <a:ext cx="2356625" cy="3868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sz="950" b="0" i="0" u="none" strike="noStrike" kern="1200" cap="none" spc="0" normalizeH="0" baseline="0" noProof="0" dirty="0">
                <a:ln>
                  <a:noFill/>
                </a:ln>
                <a:solidFill>
                  <a:srgbClr val="444B5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parkassen-Finanzgruppe</a:t>
            </a:r>
          </a:p>
        </p:txBody>
      </p:sp>
      <p:sp>
        <p:nvSpPr>
          <p:cNvPr id="38" name="Titel 37">
            <a:extLst>
              <a:ext uri="{FF2B5EF4-FFF2-40B4-BE49-F238E27FC236}">
                <a16:creationId xmlns:a16="http://schemas.microsoft.com/office/drawing/2014/main" id="{83E8E926-86FA-4FD1-AE0B-EF24CE1508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3611" y="1628800"/>
            <a:ext cx="5881564" cy="2736304"/>
          </a:xfrm>
          <a:solidFill>
            <a:schemeClr val="tx2"/>
          </a:solidFill>
          <a:ln>
            <a:noFill/>
          </a:ln>
        </p:spPr>
        <p:txBody>
          <a:bodyPr vert="horz" lIns="360000" tIns="216000" rIns="360000" bIns="216000" anchor="t"/>
          <a:lstStyle>
            <a:lvl1pPr>
              <a:defRPr sz="4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313611" y="3140968"/>
            <a:ext cx="5881564" cy="1224000"/>
          </a:xfrm>
          <a:prstGeom prst="rect">
            <a:avLst/>
          </a:prstGeom>
          <a:noFill/>
          <a:ln>
            <a:noFill/>
          </a:ln>
        </p:spPr>
        <p:txBody>
          <a:bodyPr wrap="square" lIns="360000" tIns="144000" rIns="360000" bIns="144000" rtlCol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9pPr>
          </a:lstStyle>
          <a:p>
            <a:pPr lvl="0"/>
            <a:r>
              <a:rPr lang="de-DE" dirty="0"/>
              <a:t>Untertitel der Präsentation</a:t>
            </a:r>
          </a:p>
        </p:txBody>
      </p:sp>
      <p:grpSp>
        <p:nvGrpSpPr>
          <p:cNvPr id="10" name="Grafik 17">
            <a:extLst>
              <a:ext uri="{FF2B5EF4-FFF2-40B4-BE49-F238E27FC236}">
                <a16:creationId xmlns:a16="http://schemas.microsoft.com/office/drawing/2014/main" id="{F103E21C-9C1B-4A3B-B8C2-08726072AA1F}"/>
              </a:ext>
            </a:extLst>
          </p:cNvPr>
          <p:cNvGrpSpPr/>
          <p:nvPr userDrawn="1"/>
        </p:nvGrpSpPr>
        <p:grpSpPr>
          <a:xfrm>
            <a:off x="11426227" y="332656"/>
            <a:ext cx="431956" cy="432000"/>
            <a:chOff x="11426227" y="332656"/>
            <a:chExt cx="431956" cy="432000"/>
          </a:xfrm>
          <a:solidFill>
            <a:srgbClr val="FFFFFF"/>
          </a:solidFill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5020324D-322E-4697-B8FD-F6AFB6DCB351}"/>
                </a:ext>
              </a:extLst>
            </p:cNvPr>
            <p:cNvSpPr/>
            <p:nvPr/>
          </p:nvSpPr>
          <p:spPr>
            <a:xfrm>
              <a:off x="11664777" y="592331"/>
              <a:ext cx="66225" cy="172281"/>
            </a:xfrm>
            <a:custGeom>
              <a:avLst/>
              <a:gdLst>
                <a:gd name="connsiteX0" fmla="*/ 0 w 66225"/>
                <a:gd name="connsiteY0" fmla="*/ 0 h 172281"/>
                <a:gd name="connsiteX1" fmla="*/ 66226 w 66225"/>
                <a:gd name="connsiteY1" fmla="*/ 0 h 172281"/>
                <a:gd name="connsiteX2" fmla="*/ 66226 w 66225"/>
                <a:gd name="connsiteY2" fmla="*/ 172282 h 172281"/>
                <a:gd name="connsiteX3" fmla="*/ 0 w 66225"/>
                <a:gd name="connsiteY3" fmla="*/ 172282 h 172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5" h="172281">
                  <a:moveTo>
                    <a:pt x="0" y="0"/>
                  </a:moveTo>
                  <a:lnTo>
                    <a:pt x="66226" y="0"/>
                  </a:lnTo>
                  <a:lnTo>
                    <a:pt x="66226" y="172282"/>
                  </a:lnTo>
                  <a:lnTo>
                    <a:pt x="0" y="172282"/>
                  </a:lnTo>
                  <a:close/>
                </a:path>
              </a:pathLst>
            </a:custGeom>
            <a:solidFill>
              <a:srgbClr val="FFFFFF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6E5A1A18-D866-47F9-9B6B-13A7F1BB7285}"/>
                </a:ext>
              </a:extLst>
            </p:cNvPr>
            <p:cNvSpPr/>
            <p:nvPr/>
          </p:nvSpPr>
          <p:spPr>
            <a:xfrm>
              <a:off x="11426227" y="332656"/>
              <a:ext cx="431956" cy="432000"/>
            </a:xfrm>
            <a:custGeom>
              <a:avLst/>
              <a:gdLst>
                <a:gd name="connsiteX0" fmla="*/ 340675 w 431956"/>
                <a:gd name="connsiteY0" fmla="*/ 0 h 432000"/>
                <a:gd name="connsiteX1" fmla="*/ 91325 w 431956"/>
                <a:gd name="connsiteY1" fmla="*/ 0 h 432000"/>
                <a:gd name="connsiteX2" fmla="*/ 0 w 431956"/>
                <a:gd name="connsiteY2" fmla="*/ 91325 h 432000"/>
                <a:gd name="connsiteX3" fmla="*/ 0 w 431956"/>
                <a:gd name="connsiteY3" fmla="*/ 340675 h 432000"/>
                <a:gd name="connsiteX4" fmla="*/ 91325 w 431956"/>
                <a:gd name="connsiteY4" fmla="*/ 432000 h 432000"/>
                <a:gd name="connsiteX5" fmla="*/ 182477 w 431956"/>
                <a:gd name="connsiteY5" fmla="*/ 432000 h 432000"/>
                <a:gd name="connsiteX6" fmla="*/ 182477 w 431956"/>
                <a:gd name="connsiteY6" fmla="*/ 259675 h 432000"/>
                <a:gd name="connsiteX7" fmla="*/ 160358 w 431956"/>
                <a:gd name="connsiteY7" fmla="*/ 259675 h 432000"/>
                <a:gd name="connsiteX8" fmla="*/ 160358 w 431956"/>
                <a:gd name="connsiteY8" fmla="*/ 215741 h 432000"/>
                <a:gd name="connsiteX9" fmla="*/ 182563 w 431956"/>
                <a:gd name="connsiteY9" fmla="*/ 215741 h 432000"/>
                <a:gd name="connsiteX10" fmla="*/ 182563 w 431956"/>
                <a:gd name="connsiteY10" fmla="*/ 182909 h 432000"/>
                <a:gd name="connsiteX11" fmla="*/ 251640 w 431956"/>
                <a:gd name="connsiteY11" fmla="*/ 115344 h 432000"/>
                <a:gd name="connsiteX12" fmla="*/ 282139 w 431956"/>
                <a:gd name="connsiteY12" fmla="*/ 117418 h 432000"/>
                <a:gd name="connsiteX13" fmla="*/ 282139 w 431956"/>
                <a:gd name="connsiteY13" fmla="*/ 159062 h 432000"/>
                <a:gd name="connsiteX14" fmla="*/ 267106 w 431956"/>
                <a:gd name="connsiteY14" fmla="*/ 158069 h 432000"/>
                <a:gd name="connsiteX15" fmla="*/ 238205 w 431956"/>
                <a:gd name="connsiteY15" fmla="*/ 189821 h 432000"/>
                <a:gd name="connsiteX16" fmla="*/ 238205 w 431956"/>
                <a:gd name="connsiteY16" fmla="*/ 215698 h 432000"/>
                <a:gd name="connsiteX17" fmla="*/ 360115 w 431956"/>
                <a:gd name="connsiteY17" fmla="*/ 215698 h 432000"/>
                <a:gd name="connsiteX18" fmla="*/ 360115 w 431956"/>
                <a:gd name="connsiteY18" fmla="*/ 429883 h 432000"/>
                <a:gd name="connsiteX19" fmla="*/ 431957 w 431956"/>
                <a:gd name="connsiteY19" fmla="*/ 340675 h 432000"/>
                <a:gd name="connsiteX20" fmla="*/ 431957 w 431956"/>
                <a:gd name="connsiteY20" fmla="*/ 91325 h 432000"/>
                <a:gd name="connsiteX21" fmla="*/ 340675 w 431956"/>
                <a:gd name="connsiteY21" fmla="*/ 0 h 432000"/>
                <a:gd name="connsiteX22" fmla="*/ 333461 w 431956"/>
                <a:gd name="connsiteY22" fmla="*/ 182563 h 432000"/>
                <a:gd name="connsiteX23" fmla="*/ 299851 w 431956"/>
                <a:gd name="connsiteY23" fmla="*/ 148954 h 432000"/>
                <a:gd name="connsiteX24" fmla="*/ 333461 w 431956"/>
                <a:gd name="connsiteY24" fmla="*/ 115344 h 432000"/>
                <a:gd name="connsiteX25" fmla="*/ 367070 w 431956"/>
                <a:gd name="connsiteY25" fmla="*/ 148954 h 432000"/>
                <a:gd name="connsiteX26" fmla="*/ 333461 w 431956"/>
                <a:gd name="connsiteY26" fmla="*/ 182563 h 43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31956" h="432000">
                  <a:moveTo>
                    <a:pt x="340675" y="0"/>
                  </a:moveTo>
                  <a:lnTo>
                    <a:pt x="91325" y="0"/>
                  </a:lnTo>
                  <a:cubicBezTo>
                    <a:pt x="40867" y="0"/>
                    <a:pt x="0" y="40867"/>
                    <a:pt x="0" y="91325"/>
                  </a:cubicBezTo>
                  <a:lnTo>
                    <a:pt x="0" y="340675"/>
                  </a:lnTo>
                  <a:cubicBezTo>
                    <a:pt x="0" y="391090"/>
                    <a:pt x="40867" y="432000"/>
                    <a:pt x="91325" y="432000"/>
                  </a:cubicBezTo>
                  <a:lnTo>
                    <a:pt x="182477" y="432000"/>
                  </a:lnTo>
                  <a:lnTo>
                    <a:pt x="182477" y="259675"/>
                  </a:lnTo>
                  <a:lnTo>
                    <a:pt x="160358" y="259675"/>
                  </a:lnTo>
                  <a:lnTo>
                    <a:pt x="160358" y="215741"/>
                  </a:lnTo>
                  <a:lnTo>
                    <a:pt x="182563" y="215741"/>
                  </a:lnTo>
                  <a:lnTo>
                    <a:pt x="182563" y="182909"/>
                  </a:lnTo>
                  <a:cubicBezTo>
                    <a:pt x="182563" y="137333"/>
                    <a:pt x="209693" y="115344"/>
                    <a:pt x="251640" y="115344"/>
                  </a:cubicBezTo>
                  <a:cubicBezTo>
                    <a:pt x="263434" y="115344"/>
                    <a:pt x="273067" y="116208"/>
                    <a:pt x="282139" y="117418"/>
                  </a:cubicBezTo>
                  <a:lnTo>
                    <a:pt x="282139" y="159062"/>
                  </a:lnTo>
                  <a:cubicBezTo>
                    <a:pt x="277042" y="158501"/>
                    <a:pt x="272462" y="158069"/>
                    <a:pt x="267106" y="158069"/>
                  </a:cubicBezTo>
                  <a:cubicBezTo>
                    <a:pt x="247968" y="158069"/>
                    <a:pt x="238205" y="166190"/>
                    <a:pt x="238205" y="189821"/>
                  </a:cubicBezTo>
                  <a:lnTo>
                    <a:pt x="238205" y="215698"/>
                  </a:lnTo>
                  <a:lnTo>
                    <a:pt x="360115" y="215698"/>
                  </a:lnTo>
                  <a:lnTo>
                    <a:pt x="360115" y="429883"/>
                  </a:lnTo>
                  <a:cubicBezTo>
                    <a:pt x="401198" y="420941"/>
                    <a:pt x="431957" y="384394"/>
                    <a:pt x="431957" y="340675"/>
                  </a:cubicBezTo>
                  <a:lnTo>
                    <a:pt x="431957" y="91325"/>
                  </a:lnTo>
                  <a:cubicBezTo>
                    <a:pt x="432000" y="40867"/>
                    <a:pt x="391133" y="0"/>
                    <a:pt x="340675" y="0"/>
                  </a:cubicBezTo>
                  <a:close/>
                  <a:moveTo>
                    <a:pt x="333461" y="182563"/>
                  </a:moveTo>
                  <a:cubicBezTo>
                    <a:pt x="314885" y="182563"/>
                    <a:pt x="299851" y="167530"/>
                    <a:pt x="299851" y="148954"/>
                  </a:cubicBezTo>
                  <a:cubicBezTo>
                    <a:pt x="299851" y="130378"/>
                    <a:pt x="314885" y="115344"/>
                    <a:pt x="333461" y="115344"/>
                  </a:cubicBezTo>
                  <a:cubicBezTo>
                    <a:pt x="352037" y="115344"/>
                    <a:pt x="367070" y="130378"/>
                    <a:pt x="367070" y="148954"/>
                  </a:cubicBezTo>
                  <a:cubicBezTo>
                    <a:pt x="367070" y="167530"/>
                    <a:pt x="352037" y="182563"/>
                    <a:pt x="333461" y="182563"/>
                  </a:cubicBezTo>
                  <a:close/>
                </a:path>
              </a:pathLst>
            </a:custGeom>
            <a:solidFill>
              <a:srgbClr val="FFFFFF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16846179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er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21CF249-BAB5-4F26-9488-A6313F5AF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6595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6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21CF249-BAB5-4F26-9488-A6313F5AF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48C2FEB4-C7DE-400C-B828-CA8C4AA1EAAD}"/>
              </a:ext>
            </a:extLst>
          </p:cNvPr>
          <p:cNvSpPr/>
          <p:nvPr userDrawn="1"/>
        </p:nvSpPr>
        <p:spPr bwMode="gray">
          <a:xfrm>
            <a:off x="0" y="0"/>
            <a:ext cx="12195175" cy="5949950"/>
          </a:xfrm>
          <a:prstGeom prst="rect">
            <a:avLst/>
          </a:prstGeom>
          <a:solidFill>
            <a:srgbClr val="DDE0E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33" name="Textplatzhalter 18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E3C0F2F-75D7-4985-9DE5-13A15F344020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15B27D77-27EE-41F3-B2C5-50FE00478992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BD437B-4D7C-4518-B262-BE242087A38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EF15F8A-F00C-4E02-9612-C625F26AC30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7587" y="333000"/>
            <a:ext cx="2592000" cy="2592000"/>
          </a:xfrm>
          <a:solidFill>
            <a:schemeClr val="bg2"/>
          </a:solidFill>
        </p:spPr>
        <p:txBody>
          <a:bodyPr vert="horz" lIns="288000" tIns="216000" rIns="288000" bIns="216000" rtlCol="0">
            <a:noAutofit/>
          </a:bodyPr>
          <a:lstStyle>
            <a:lvl1pPr>
              <a:defRPr lang="de-DE" dirty="0" smtClean="0">
                <a:solidFill>
                  <a:schemeClr val="tx2"/>
                </a:solidFill>
              </a:defRPr>
            </a:lvl1pPr>
            <a:lvl2pPr>
              <a:defRPr lang="de-DE" dirty="0" smtClean="0">
                <a:solidFill>
                  <a:schemeClr val="tx2"/>
                </a:solidFill>
              </a:defRPr>
            </a:lvl2pPr>
            <a:lvl3pPr>
              <a:defRPr lang="de-DE" dirty="0" smtClean="0">
                <a:solidFill>
                  <a:schemeClr val="tx2"/>
                </a:solidFill>
              </a:defRPr>
            </a:lvl3pPr>
            <a:lvl4pPr>
              <a:defRPr lang="de-DE" dirty="0" smtClean="0">
                <a:solidFill>
                  <a:schemeClr val="tx2"/>
                </a:solidFill>
              </a:defRPr>
            </a:lvl4pPr>
            <a:lvl5pPr>
              <a:defRPr lang="de-DE" dirty="0" smtClean="0">
                <a:solidFill>
                  <a:schemeClr val="tx2"/>
                </a:solidFill>
              </a:defRPr>
            </a:lvl5pPr>
            <a:lvl6pPr>
              <a:defRPr lang="de-DE" dirty="0" smtClean="0">
                <a:solidFill>
                  <a:schemeClr val="tx2"/>
                </a:solidFill>
              </a:defRPr>
            </a:lvl6pPr>
            <a:lvl7pPr>
              <a:defRPr lang="de-DE" dirty="0" smtClean="0">
                <a:solidFill>
                  <a:schemeClr val="tx2"/>
                </a:solidFill>
              </a:defRPr>
            </a:lvl7pPr>
            <a:lvl8pPr>
              <a:defRPr lang="de-DE" dirty="0" smtClean="0">
                <a:solidFill>
                  <a:schemeClr val="tx2"/>
                </a:solidFill>
              </a:defRPr>
            </a:lvl8pPr>
            <a:lvl9pPr>
              <a:defRPr lang="de-DE" dirty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578425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Textblock und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21CF249-BAB5-4F26-9488-A6313F5AF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3015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0" name="think-cell Folie" r:id="rId6" imgW="415" imgH="416" progId="TCLayout.ActiveDocument.1">
                  <p:embed/>
                </p:oleObj>
              </mc:Choice>
              <mc:Fallback>
                <p:oleObj name="think-cell Folie" r:id="rId6" imgW="415" imgH="41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21CF249-BAB5-4F26-9488-A6313F5AF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B9ABBBC4-157B-4BF3-881C-49B545188F52}"/>
              </a:ext>
            </a:extLst>
          </p:cNvPr>
          <p:cNvGrpSpPr/>
          <p:nvPr userDrawn="1"/>
        </p:nvGrpSpPr>
        <p:grpSpPr>
          <a:xfrm>
            <a:off x="336947" y="5229200"/>
            <a:ext cx="11858228" cy="720755"/>
            <a:chOff x="336947" y="5229200"/>
            <a:chExt cx="11858228" cy="720755"/>
          </a:xfrm>
        </p:grpSpPr>
        <p:grpSp>
          <p:nvGrpSpPr>
            <p:cNvPr id="24" name="Gruppieren 34">
              <a:extLst>
                <a:ext uri="{FF2B5EF4-FFF2-40B4-BE49-F238E27FC236}">
                  <a16:creationId xmlns:a16="http://schemas.microsoft.com/office/drawing/2014/main" id="{F94901A8-E899-4369-8B19-F7E5CD585A94}"/>
                </a:ext>
              </a:extLst>
            </p:cNvPr>
            <p:cNvGrpSpPr/>
            <p:nvPr userDrawn="1">
              <p:custDataLst>
                <p:tags r:id="rId3"/>
              </p:custDataLst>
            </p:nvPr>
          </p:nvGrpSpPr>
          <p:grpSpPr bwMode="gray">
            <a:xfrm>
              <a:off x="336947" y="5229200"/>
              <a:ext cx="11858228" cy="720755"/>
              <a:chOff x="336947" y="5229200"/>
              <a:chExt cx="11858228" cy="720755"/>
            </a:xfrm>
          </p:grpSpPr>
          <p:sp>
            <p:nvSpPr>
              <p:cNvPr id="26" name="Abgerundetes Rechteck 4">
                <a:extLst>
                  <a:ext uri="{FF2B5EF4-FFF2-40B4-BE49-F238E27FC236}">
                    <a16:creationId xmlns:a16="http://schemas.microsoft.com/office/drawing/2014/main" id="{94B2EB2A-D1A3-415E-A035-892485563C87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 bwMode="gray">
              <a:xfrm>
                <a:off x="336947" y="5229200"/>
                <a:ext cx="11858228" cy="720080"/>
              </a:xfrm>
              <a:prstGeom prst="rect">
                <a:avLst/>
              </a:prstGeom>
              <a:solidFill>
                <a:srgbClr val="DDE0E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rgbClr val="4D4D4D"/>
                  </a:solidFill>
                  <a:latin typeface="+mj-lt"/>
                </a:endParaRPr>
              </a:p>
            </p:txBody>
          </p:sp>
          <p:sp>
            <p:nvSpPr>
              <p:cNvPr id="28" name="Ellipse 38">
                <a:extLst>
                  <a:ext uri="{FF2B5EF4-FFF2-40B4-BE49-F238E27FC236}">
                    <a16:creationId xmlns:a16="http://schemas.microsoft.com/office/drawing/2014/main" id="{8685AFB2-8407-46B0-BA09-97949B83C40E}"/>
                  </a:ext>
                </a:extLst>
              </p:cNvPr>
              <p:cNvSpPr/>
              <p:nvPr/>
            </p:nvSpPr>
            <p:spPr bwMode="gray">
              <a:xfrm>
                <a:off x="336995" y="5229203"/>
                <a:ext cx="576000" cy="720752"/>
              </a:xfrm>
              <a:prstGeom prst="rect">
                <a:avLst/>
              </a:prstGeom>
              <a:solidFill>
                <a:srgbClr val="FF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rgbClr val="4D4D4D"/>
                  </a:solidFill>
                  <a:latin typeface="+mj-lt"/>
                </a:endParaRPr>
              </a:p>
            </p:txBody>
          </p:sp>
        </p:grp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6EAEFD92-8A3F-4077-9C75-AAC16B512B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995" y="5409579"/>
              <a:ext cx="216000" cy="360000"/>
            </a:xfrm>
            <a:custGeom>
              <a:avLst/>
              <a:gdLst>
                <a:gd name="T0" fmla="*/ 648 w 682"/>
                <a:gd name="T1" fmla="*/ 649 h 1124"/>
                <a:gd name="T2" fmla="*/ 648 w 682"/>
                <a:gd name="T3" fmla="*/ 649 h 1124"/>
                <a:gd name="T4" fmla="*/ 682 w 682"/>
                <a:gd name="T5" fmla="*/ 567 h 1124"/>
                <a:gd name="T6" fmla="*/ 648 w 682"/>
                <a:gd name="T7" fmla="*/ 486 h 1124"/>
                <a:gd name="T8" fmla="*/ 648 w 682"/>
                <a:gd name="T9" fmla="*/ 486 h 1124"/>
                <a:gd name="T10" fmla="*/ 208 w 682"/>
                <a:gd name="T11" fmla="*/ 45 h 1124"/>
                <a:gd name="T12" fmla="*/ 44 w 682"/>
                <a:gd name="T13" fmla="*/ 45 h 1124"/>
                <a:gd name="T14" fmla="*/ 44 w 682"/>
                <a:gd name="T15" fmla="*/ 208 h 1124"/>
                <a:gd name="T16" fmla="*/ 403 w 682"/>
                <a:gd name="T17" fmla="*/ 567 h 1124"/>
                <a:gd name="T18" fmla="*/ 44 w 682"/>
                <a:gd name="T19" fmla="*/ 926 h 1124"/>
                <a:gd name="T20" fmla="*/ 44 w 682"/>
                <a:gd name="T21" fmla="*/ 1090 h 1124"/>
                <a:gd name="T22" fmla="*/ 126 w 682"/>
                <a:gd name="T23" fmla="*/ 1124 h 1124"/>
                <a:gd name="T24" fmla="*/ 208 w 682"/>
                <a:gd name="T25" fmla="*/ 1090 h 1124"/>
                <a:gd name="T26" fmla="*/ 648 w 682"/>
                <a:gd name="T27" fmla="*/ 649 h 1124"/>
                <a:gd name="T28" fmla="*/ 648 w 682"/>
                <a:gd name="T29" fmla="*/ 649 h 1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2" h="1124">
                  <a:moveTo>
                    <a:pt x="648" y="649"/>
                  </a:moveTo>
                  <a:lnTo>
                    <a:pt x="648" y="649"/>
                  </a:lnTo>
                  <a:cubicBezTo>
                    <a:pt x="671" y="627"/>
                    <a:pt x="682" y="597"/>
                    <a:pt x="682" y="567"/>
                  </a:cubicBezTo>
                  <a:cubicBezTo>
                    <a:pt x="682" y="538"/>
                    <a:pt x="671" y="508"/>
                    <a:pt x="648" y="486"/>
                  </a:cubicBezTo>
                  <a:cubicBezTo>
                    <a:pt x="648" y="486"/>
                    <a:pt x="648" y="486"/>
                    <a:pt x="648" y="486"/>
                  </a:cubicBezTo>
                  <a:lnTo>
                    <a:pt x="208" y="45"/>
                  </a:lnTo>
                  <a:cubicBezTo>
                    <a:pt x="163" y="0"/>
                    <a:pt x="89" y="0"/>
                    <a:pt x="44" y="45"/>
                  </a:cubicBezTo>
                  <a:cubicBezTo>
                    <a:pt x="0" y="90"/>
                    <a:pt x="0" y="163"/>
                    <a:pt x="44" y="208"/>
                  </a:cubicBezTo>
                  <a:lnTo>
                    <a:pt x="403" y="567"/>
                  </a:lnTo>
                  <a:lnTo>
                    <a:pt x="44" y="926"/>
                  </a:lnTo>
                  <a:cubicBezTo>
                    <a:pt x="0" y="971"/>
                    <a:pt x="0" y="1045"/>
                    <a:pt x="44" y="1090"/>
                  </a:cubicBezTo>
                  <a:cubicBezTo>
                    <a:pt x="67" y="1112"/>
                    <a:pt x="96" y="1124"/>
                    <a:pt x="126" y="1124"/>
                  </a:cubicBezTo>
                  <a:cubicBezTo>
                    <a:pt x="156" y="1124"/>
                    <a:pt x="185" y="1112"/>
                    <a:pt x="208" y="1090"/>
                  </a:cubicBezTo>
                  <a:lnTo>
                    <a:pt x="648" y="649"/>
                  </a:lnTo>
                  <a:cubicBezTo>
                    <a:pt x="648" y="649"/>
                    <a:pt x="648" y="649"/>
                    <a:pt x="648" y="649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Titelformat durch Klicken bearbeiten</a:t>
            </a:r>
          </a:p>
        </p:txBody>
      </p:sp>
      <p:sp>
        <p:nvSpPr>
          <p:cNvPr id="25" name="Inhaltsplatzhalter 16">
            <a:extLst>
              <a:ext uri="{FF2B5EF4-FFF2-40B4-BE49-F238E27FC236}">
                <a16:creationId xmlns:a16="http://schemas.microsoft.com/office/drawing/2014/main" id="{92761EEB-C502-4832-A6D4-65C16FD7D8E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9265587" y="1628775"/>
            <a:ext cx="2592000" cy="324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3" name="Textplatzhalter 18">
            <a:extLst>
              <a:ext uri="{FF2B5EF4-FFF2-40B4-BE49-F238E27FC236}">
                <a16:creationId xmlns:a16="http://schemas.microsoft.com/office/drawing/2014/main" id="{1208A9F8-57C9-4F2C-A597-3D9BA68E92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2"/>
            <a:r>
              <a:rPr lang="de-DE" dirty="0"/>
              <a:t>Quellenangaben</a:t>
            </a:r>
          </a:p>
        </p:txBody>
      </p:sp>
      <p:sp>
        <p:nvSpPr>
          <p:cNvPr id="35" name="Textplatzhalter 8">
            <a:extLst>
              <a:ext uri="{FF2B5EF4-FFF2-40B4-BE49-F238E27FC236}">
                <a16:creationId xmlns:a16="http://schemas.microsoft.com/office/drawing/2014/main" id="{D0E758C6-B5EC-46B9-8584-9D026D2E605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7587" y="5229000"/>
            <a:ext cx="10800000" cy="720000"/>
          </a:xfrm>
        </p:spPr>
        <p:txBody>
          <a:bodyPr anchor="ctr"/>
          <a:lstStyle>
            <a:lvl1pPr>
              <a:spcBef>
                <a:spcPts val="0"/>
              </a:spcBef>
              <a:spcAft>
                <a:spcPts val="0"/>
              </a:spcAft>
              <a:defRPr sz="1800" baseline="0"/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lvl="0"/>
            <a:r>
              <a:rPr lang="de-DE" dirty="0"/>
              <a:t>Geben Sie hier den Fazit-Text ein.</a:t>
            </a:r>
            <a:br>
              <a:rPr lang="de-DE" dirty="0"/>
            </a:br>
            <a:r>
              <a:rPr lang="de-DE" dirty="0"/>
              <a:t>Verwenden Sie für die zweite Zeile die zweite Textebene.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E3C0F2F-75D7-4985-9DE5-13A15F344020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948E2F76-45E5-49AE-9B6F-9ACE168B52FD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BD437B-4D7C-4518-B262-BE242087A38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1A0BA1F-72F4-4870-90AA-D12D928A3851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36550" y="1628775"/>
            <a:ext cx="8569325" cy="3240088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5812668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42DF651-8E69-42CA-9E0B-2B46E106B2E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6947" y="6021288"/>
            <a:ext cx="8856000" cy="144016"/>
          </a:xfrm>
        </p:spPr>
        <p:txBody>
          <a:bodyPr tIns="0" b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cap="none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 b="0" cap="none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 b="0" cap="none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 b="0" cap="none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 b="0" cap="none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 b="0" cap="none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 b="0" cap="none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 b="0" cap="none"/>
            </a:lvl9pPr>
          </a:lstStyle>
          <a:p>
            <a:pPr lvl="3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23F0A2-8E54-47B8-A661-99FCE2BC27B4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BF40BBB-3600-4DD6-A32E-A3210BF4CF5A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2EA9D80-C6EF-45EA-8C89-543A89C1ADCC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l"/>
            <a:r>
              <a:rPr lang="de-DE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880954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05EB1E7-A023-416D-B033-093E65B45C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8108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4"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16629129-17EC-41B8-AA30-94D1A41E37D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4693746" y="2781001"/>
            <a:ext cx="2844000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/>
          <a:lstStyle/>
          <a:p>
            <a:pPr algn="ctr"/>
            <a:r>
              <a:rPr lang="de-DE" sz="5400" dirty="0">
                <a:solidFill>
                  <a:srgbClr val="444B52"/>
                </a:solidFill>
                <a:latin typeface="+mj-lt"/>
              </a:rPr>
              <a:t>BACKUP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5DC093EB-DDE7-4862-A864-1C86CDBB5C52}"/>
              </a:ext>
            </a:extLst>
          </p:cNvPr>
          <p:cNvGrpSpPr/>
          <p:nvPr userDrawn="1"/>
        </p:nvGrpSpPr>
        <p:grpSpPr>
          <a:xfrm>
            <a:off x="4657587" y="2781000"/>
            <a:ext cx="2880000" cy="1296000"/>
            <a:chOff x="4693747" y="2781000"/>
            <a:chExt cx="2844000" cy="1296000"/>
          </a:xfrm>
        </p:grpSpPr>
        <p:cxnSp>
          <p:nvCxnSpPr>
            <p:cNvPr id="8" name="Gerade Verbindung 12">
              <a:extLst>
                <a:ext uri="{FF2B5EF4-FFF2-40B4-BE49-F238E27FC236}">
                  <a16:creationId xmlns:a16="http://schemas.microsoft.com/office/drawing/2014/main" id="{B3836310-A8D7-42DA-B31C-172FD6194250}"/>
                </a:ext>
              </a:extLst>
            </p:cNvPr>
            <p:cNvCxnSpPr/>
            <p:nvPr userDrawn="1"/>
          </p:nvCxnSpPr>
          <p:spPr bwMode="gray">
            <a:xfrm>
              <a:off x="4693747" y="2781000"/>
              <a:ext cx="2844000" cy="0"/>
            </a:xfrm>
            <a:prstGeom prst="line">
              <a:avLst/>
            </a:prstGeom>
            <a:ln w="6350">
              <a:solidFill>
                <a:srgbClr val="444B5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3">
              <a:extLst>
                <a:ext uri="{FF2B5EF4-FFF2-40B4-BE49-F238E27FC236}">
                  <a16:creationId xmlns:a16="http://schemas.microsoft.com/office/drawing/2014/main" id="{175A165F-0BA4-4AEB-946E-F3B81EBD7C78}"/>
                </a:ext>
              </a:extLst>
            </p:cNvPr>
            <p:cNvCxnSpPr/>
            <p:nvPr userDrawn="1"/>
          </p:nvCxnSpPr>
          <p:spPr bwMode="gray">
            <a:xfrm>
              <a:off x="4693747" y="4077000"/>
              <a:ext cx="2844000" cy="0"/>
            </a:xfrm>
            <a:prstGeom prst="line">
              <a:avLst/>
            </a:prstGeom>
            <a:ln w="6350">
              <a:solidFill>
                <a:srgbClr val="444B5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" name="Picture 2">
            <a:extLst>
              <a:ext uri="{FF2B5EF4-FFF2-40B4-BE49-F238E27FC236}">
                <a16:creationId xmlns:a16="http://schemas.microsoft.com/office/drawing/2014/main" id="{E2C0CAFA-F40F-4B74-8AD7-3B7F0A24F18E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160904" y="6327659"/>
            <a:ext cx="1697323" cy="274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938721E4-612C-44FF-86AA-6C7A8EA827BE}"/>
              </a:ext>
            </a:extLst>
          </p:cNvPr>
          <p:cNvGrpSpPr/>
          <p:nvPr userDrawn="1"/>
        </p:nvGrpSpPr>
        <p:grpSpPr>
          <a:xfrm>
            <a:off x="337587" y="-171000"/>
            <a:ext cx="11521038" cy="108000"/>
            <a:chOff x="337587" y="-171000"/>
            <a:chExt cx="11521038" cy="108000"/>
          </a:xfrm>
        </p:grpSpPr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009DB234-8D80-4044-8023-01BBB580A458}"/>
                </a:ext>
              </a:extLst>
            </p:cNvPr>
            <p:cNvSpPr/>
            <p:nvPr userDrawn="1"/>
          </p:nvSpPr>
          <p:spPr bwMode="gray">
            <a:xfrm flipH="1">
              <a:off x="3793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3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B85FA285-02D0-48B6-B911-E783BD80EB73}"/>
                </a:ext>
              </a:extLst>
            </p:cNvPr>
            <p:cNvSpPr/>
            <p:nvPr userDrawn="1"/>
          </p:nvSpPr>
          <p:spPr bwMode="gray">
            <a:xfrm flipH="1">
              <a:off x="4297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3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97EDD709-E624-41A5-89D9-4B62358196D3}"/>
                </a:ext>
              </a:extLst>
            </p:cNvPr>
            <p:cNvSpPr/>
            <p:nvPr userDrawn="1"/>
          </p:nvSpPr>
          <p:spPr bwMode="gray">
            <a:xfrm flipH="1">
              <a:off x="2785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4</a:t>
              </a:r>
            </a:p>
          </p:txBody>
        </p: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83AC0711-FFD3-4A25-ACDF-EFB5B4650A18}"/>
                </a:ext>
              </a:extLst>
            </p:cNvPr>
            <p:cNvCxnSpPr/>
            <p:nvPr userDrawn="1"/>
          </p:nvCxnSpPr>
          <p:spPr bwMode="gray">
            <a:xfrm>
              <a:off x="337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387AA76D-37BE-4934-9228-DED8A7726033}"/>
                </a:ext>
              </a:extLst>
            </p:cNvPr>
            <p:cNvCxnSpPr/>
            <p:nvPr userDrawn="1"/>
          </p:nvCxnSpPr>
          <p:spPr bwMode="gray">
            <a:xfrm>
              <a:off x="2929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E36184FE-1FBC-4832-9383-1072DD237EE8}"/>
                </a:ext>
              </a:extLst>
            </p:cNvPr>
            <p:cNvSpPr/>
            <p:nvPr userDrawn="1"/>
          </p:nvSpPr>
          <p:spPr bwMode="gray">
            <a:xfrm flipH="1">
              <a:off x="3289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4</a:t>
              </a:r>
            </a:p>
          </p:txBody>
        </p: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2CCCD499-2376-4E5A-93BD-A2326A069AFD}"/>
                </a:ext>
              </a:extLst>
            </p:cNvPr>
            <p:cNvCxnSpPr/>
            <p:nvPr userDrawn="1"/>
          </p:nvCxnSpPr>
          <p:spPr bwMode="gray">
            <a:xfrm>
              <a:off x="3289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D1202FDE-2D50-4CBF-AFD7-5FCD4952A475}"/>
                </a:ext>
              </a:extLst>
            </p:cNvPr>
            <p:cNvSpPr/>
            <p:nvPr userDrawn="1"/>
          </p:nvSpPr>
          <p:spPr bwMode="gray">
            <a:xfrm flipH="1">
              <a:off x="8761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4</a:t>
              </a:r>
            </a:p>
          </p:txBody>
        </p: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9D68F57A-FD4A-4A7D-B7F2-2FA5CDEE9F79}"/>
                </a:ext>
              </a:extLst>
            </p:cNvPr>
            <p:cNvCxnSpPr/>
            <p:nvPr userDrawn="1"/>
          </p:nvCxnSpPr>
          <p:spPr bwMode="gray">
            <a:xfrm>
              <a:off x="8905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Rechteck 69">
              <a:extLst>
                <a:ext uri="{FF2B5EF4-FFF2-40B4-BE49-F238E27FC236}">
                  <a16:creationId xmlns:a16="http://schemas.microsoft.com/office/drawing/2014/main" id="{02E0C976-EB61-4319-BB9B-5168C6615431}"/>
                </a:ext>
              </a:extLst>
            </p:cNvPr>
            <p:cNvSpPr/>
            <p:nvPr userDrawn="1"/>
          </p:nvSpPr>
          <p:spPr bwMode="gray">
            <a:xfrm flipH="1">
              <a:off x="9265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4</a:t>
              </a:r>
            </a:p>
          </p:txBody>
        </p: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C7A363AD-1228-45B9-8AAE-3DA92BFE5F29}"/>
                </a:ext>
              </a:extLst>
            </p:cNvPr>
            <p:cNvCxnSpPr/>
            <p:nvPr userDrawn="1"/>
          </p:nvCxnSpPr>
          <p:spPr bwMode="gray">
            <a:xfrm>
              <a:off x="9265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1C99DEB0-CE1B-4401-B553-6D150B321F04}"/>
                </a:ext>
              </a:extLst>
            </p:cNvPr>
            <p:cNvCxnSpPr/>
            <p:nvPr userDrawn="1"/>
          </p:nvCxnSpPr>
          <p:spPr bwMode="gray">
            <a:xfrm>
              <a:off x="3937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73BFAC9D-90EA-4C37-BAB4-50BD9ABF2E65}"/>
                </a:ext>
              </a:extLst>
            </p:cNvPr>
            <p:cNvCxnSpPr/>
            <p:nvPr userDrawn="1"/>
          </p:nvCxnSpPr>
          <p:spPr bwMode="gray">
            <a:xfrm>
              <a:off x="4297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56F56B84-8778-44DE-8021-E6F89ED2CE2F}"/>
                </a:ext>
              </a:extLst>
            </p:cNvPr>
            <p:cNvSpPr/>
            <p:nvPr userDrawn="1"/>
          </p:nvSpPr>
          <p:spPr bwMode="gray">
            <a:xfrm flipH="1">
              <a:off x="7753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3</a:t>
              </a:r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23AD54E0-3064-4828-B20C-2DDA93C8335D}"/>
                </a:ext>
              </a:extLst>
            </p:cNvPr>
            <p:cNvSpPr/>
            <p:nvPr userDrawn="1"/>
          </p:nvSpPr>
          <p:spPr bwMode="gray">
            <a:xfrm flipH="1">
              <a:off x="8257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3</a:t>
              </a:r>
            </a:p>
          </p:txBody>
        </p: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6914D8D1-E805-4788-B999-3F365A374EB2}"/>
                </a:ext>
              </a:extLst>
            </p:cNvPr>
            <p:cNvCxnSpPr/>
            <p:nvPr userDrawn="1"/>
          </p:nvCxnSpPr>
          <p:spPr bwMode="gray">
            <a:xfrm>
              <a:off x="7897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0618FAA4-DA6B-40D6-A081-3AAB45903E5F}"/>
                </a:ext>
              </a:extLst>
            </p:cNvPr>
            <p:cNvCxnSpPr/>
            <p:nvPr userDrawn="1"/>
          </p:nvCxnSpPr>
          <p:spPr bwMode="gray">
            <a:xfrm>
              <a:off x="8257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68A1A0C5-4B29-4DF3-B665-60E1BA569EA9}"/>
                </a:ext>
              </a:extLst>
            </p:cNvPr>
            <p:cNvSpPr/>
            <p:nvPr userDrawn="1"/>
          </p:nvSpPr>
          <p:spPr bwMode="gray">
            <a:xfrm flipH="1">
              <a:off x="5737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2</a:t>
              </a:r>
            </a:p>
          </p:txBody>
        </p: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F7A17D8F-AF52-4071-9235-90B3BCC06FD5}"/>
                </a:ext>
              </a:extLst>
            </p:cNvPr>
            <p:cNvCxnSpPr/>
            <p:nvPr userDrawn="1"/>
          </p:nvCxnSpPr>
          <p:spPr bwMode="gray">
            <a:xfrm>
              <a:off x="5881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EDD1E124-3A92-4EFE-889A-2FDC808B4497}"/>
                </a:ext>
              </a:extLst>
            </p:cNvPr>
            <p:cNvSpPr/>
            <p:nvPr userDrawn="1"/>
          </p:nvSpPr>
          <p:spPr bwMode="gray">
            <a:xfrm flipH="1">
              <a:off x="6313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2</a:t>
              </a:r>
            </a:p>
          </p:txBody>
        </p:sp>
        <p:cxnSp>
          <p:nvCxnSpPr>
            <p:cNvPr id="81" name="Gerader Verbinder 80">
              <a:extLst>
                <a:ext uri="{FF2B5EF4-FFF2-40B4-BE49-F238E27FC236}">
                  <a16:creationId xmlns:a16="http://schemas.microsoft.com/office/drawing/2014/main" id="{8B0F3FFA-0B5C-4507-9A03-AC8BF1C93753}"/>
                </a:ext>
              </a:extLst>
            </p:cNvPr>
            <p:cNvCxnSpPr/>
            <p:nvPr userDrawn="1"/>
          </p:nvCxnSpPr>
          <p:spPr bwMode="gray">
            <a:xfrm>
              <a:off x="6313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r Verbinder 81">
              <a:extLst>
                <a:ext uri="{FF2B5EF4-FFF2-40B4-BE49-F238E27FC236}">
                  <a16:creationId xmlns:a16="http://schemas.microsoft.com/office/drawing/2014/main" id="{8AA8E252-F8B8-443A-86E8-02254E2A002A}"/>
                </a:ext>
              </a:extLst>
            </p:cNvPr>
            <p:cNvCxnSpPr/>
            <p:nvPr userDrawn="1"/>
          </p:nvCxnSpPr>
          <p:spPr bwMode="gray">
            <a:xfrm>
              <a:off x="11858625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72EC3860-FEFD-4088-B0D7-4358C0E22763}"/>
              </a:ext>
            </a:extLst>
          </p:cNvPr>
          <p:cNvGrpSpPr/>
          <p:nvPr userDrawn="1"/>
        </p:nvGrpSpPr>
        <p:grpSpPr>
          <a:xfrm>
            <a:off x="-202413" y="1628775"/>
            <a:ext cx="108000" cy="4320225"/>
            <a:chOff x="-202413" y="1628775"/>
            <a:chExt cx="108000" cy="4320225"/>
          </a:xfrm>
        </p:grpSpPr>
        <p:cxnSp>
          <p:nvCxnSpPr>
            <p:cNvPr id="84" name="Gerader Verbinder 83">
              <a:extLst>
                <a:ext uri="{FF2B5EF4-FFF2-40B4-BE49-F238E27FC236}">
                  <a16:creationId xmlns:a16="http://schemas.microsoft.com/office/drawing/2014/main" id="{B35CA120-06D5-4027-8C3C-24701AC2D86D}"/>
                </a:ext>
              </a:extLst>
            </p:cNvPr>
            <p:cNvCxnSpPr/>
            <p:nvPr userDrawn="1"/>
          </p:nvCxnSpPr>
          <p:spPr bwMode="gray">
            <a:xfrm>
              <a:off x="-202413" y="1628775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>
              <a:extLst>
                <a:ext uri="{FF2B5EF4-FFF2-40B4-BE49-F238E27FC236}">
                  <a16:creationId xmlns:a16="http://schemas.microsoft.com/office/drawing/2014/main" id="{8B14327F-92D8-40A8-AAF5-81C9488BA905}"/>
                </a:ext>
              </a:extLst>
            </p:cNvPr>
            <p:cNvCxnSpPr/>
            <p:nvPr userDrawn="1"/>
          </p:nvCxnSpPr>
          <p:spPr bwMode="gray">
            <a:xfrm>
              <a:off x="-202413" y="5949000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6" name="Gruppieren 85">
            <a:extLst>
              <a:ext uri="{FF2B5EF4-FFF2-40B4-BE49-F238E27FC236}">
                <a16:creationId xmlns:a16="http://schemas.microsoft.com/office/drawing/2014/main" id="{C4EDC10E-F9C0-4EC6-8D41-F3EA9D1FDC67}"/>
              </a:ext>
            </a:extLst>
          </p:cNvPr>
          <p:cNvGrpSpPr/>
          <p:nvPr userDrawn="1"/>
        </p:nvGrpSpPr>
        <p:grpSpPr>
          <a:xfrm>
            <a:off x="12289587" y="1628775"/>
            <a:ext cx="108000" cy="4320225"/>
            <a:chOff x="-202413" y="1628775"/>
            <a:chExt cx="108000" cy="4320225"/>
          </a:xfrm>
        </p:grpSpPr>
        <p:cxnSp>
          <p:nvCxnSpPr>
            <p:cNvPr id="87" name="Gerader Verbinder 86">
              <a:extLst>
                <a:ext uri="{FF2B5EF4-FFF2-40B4-BE49-F238E27FC236}">
                  <a16:creationId xmlns:a16="http://schemas.microsoft.com/office/drawing/2014/main" id="{C0A6AF40-EA1A-410B-945C-F3AB343E6B74}"/>
                </a:ext>
              </a:extLst>
            </p:cNvPr>
            <p:cNvCxnSpPr/>
            <p:nvPr userDrawn="1"/>
          </p:nvCxnSpPr>
          <p:spPr bwMode="gray">
            <a:xfrm>
              <a:off x="-202413" y="1628775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>
              <a:extLst>
                <a:ext uri="{FF2B5EF4-FFF2-40B4-BE49-F238E27FC236}">
                  <a16:creationId xmlns:a16="http://schemas.microsoft.com/office/drawing/2014/main" id="{9A8F49D6-378D-4989-AD4B-9DEA38D42BA1}"/>
                </a:ext>
              </a:extLst>
            </p:cNvPr>
            <p:cNvCxnSpPr/>
            <p:nvPr userDrawn="1"/>
          </p:nvCxnSpPr>
          <p:spPr bwMode="gray">
            <a:xfrm>
              <a:off x="-202413" y="5949000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116456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ha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K:\Finanz Informatik\02_Corporate\Visual IT-infra_LB_U8+U1_grau-01.png" hidden="1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195175" cy="4432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uppieren 12"/>
          <p:cNvGrpSpPr/>
          <p:nvPr userDrawn="1"/>
        </p:nvGrpSpPr>
        <p:grpSpPr bwMode="gray">
          <a:xfrm>
            <a:off x="3937587" y="2781000"/>
            <a:ext cx="4320588" cy="1296001"/>
            <a:chOff x="323391" y="3320988"/>
            <a:chExt cx="2844001" cy="1296001"/>
          </a:xfrm>
        </p:grpSpPr>
        <p:sp>
          <p:nvSpPr>
            <p:cNvPr id="14" name="Rechteck 13"/>
            <p:cNvSpPr/>
            <p:nvPr userDrawn="1">
              <p:custDataLst>
                <p:tags r:id="rId2"/>
              </p:custDataLst>
            </p:nvPr>
          </p:nvSpPr>
          <p:spPr bwMode="gray">
            <a:xfrm>
              <a:off x="323391" y="3320989"/>
              <a:ext cx="2844000" cy="1296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0" tIns="0" rIns="0" bIns="0" rtlCol="0" anchor="ctr" anchorCtr="0"/>
            <a:lstStyle/>
            <a:p>
              <a:r>
                <a:rPr lang="de-DE" sz="5400" dirty="0">
                  <a:solidFill>
                    <a:srgbClr val="444B52"/>
                  </a:solidFill>
                </a:rPr>
                <a:t>ANHANG</a:t>
              </a:r>
            </a:p>
          </p:txBody>
        </p:sp>
        <p:grpSp>
          <p:nvGrpSpPr>
            <p:cNvPr id="15" name="Gruppieren 14"/>
            <p:cNvGrpSpPr/>
            <p:nvPr userDrawn="1"/>
          </p:nvGrpSpPr>
          <p:grpSpPr bwMode="gray">
            <a:xfrm>
              <a:off x="323392" y="3320988"/>
              <a:ext cx="2844000" cy="1296000"/>
              <a:chOff x="323392" y="3320988"/>
              <a:chExt cx="5023062" cy="1332148"/>
            </a:xfrm>
          </p:grpSpPr>
          <p:cxnSp>
            <p:nvCxnSpPr>
              <p:cNvPr id="16" name="Gerade Verbindung 15"/>
              <p:cNvCxnSpPr/>
              <p:nvPr userDrawn="1"/>
            </p:nvCxnSpPr>
            <p:spPr bwMode="gray">
              <a:xfrm>
                <a:off x="323392" y="3320988"/>
                <a:ext cx="5023062" cy="0"/>
              </a:xfrm>
              <a:prstGeom prst="line">
                <a:avLst/>
              </a:prstGeom>
              <a:ln w="6350">
                <a:solidFill>
                  <a:srgbClr val="444B5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 Verbindung 16"/>
              <p:cNvCxnSpPr/>
              <p:nvPr userDrawn="1"/>
            </p:nvCxnSpPr>
            <p:spPr bwMode="gray">
              <a:xfrm>
                <a:off x="323392" y="4653136"/>
                <a:ext cx="5023062" cy="0"/>
              </a:xfrm>
              <a:prstGeom prst="line">
                <a:avLst/>
              </a:prstGeom>
              <a:ln w="6350">
                <a:solidFill>
                  <a:srgbClr val="444B5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8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7177587" y="2852738"/>
            <a:ext cx="1080000" cy="1152525"/>
          </a:xfrm>
        </p:spPr>
        <p:txBody>
          <a:bodyPr anchor="ctr" anchorCtr="0"/>
          <a:lstStyle>
            <a:lvl1pPr marL="0" algn="ctr">
              <a:spcBef>
                <a:spcPts val="0"/>
              </a:spcBef>
              <a:spcAft>
                <a:spcPts val="0"/>
              </a:spcAft>
              <a:buFontTx/>
              <a:buNone/>
              <a:defRPr sz="5400" b="1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sz="54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54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54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54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54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54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54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5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Nr.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3937000" y="4221163"/>
            <a:ext cx="4321175" cy="17287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B1E69017-6956-4E28-A551-008E78876A3A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160904" y="6327659"/>
            <a:ext cx="1697323" cy="274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EF4D39DD-229E-4CBA-9D38-C3C875E57110}"/>
              </a:ext>
            </a:extLst>
          </p:cNvPr>
          <p:cNvGrpSpPr/>
          <p:nvPr userDrawn="1"/>
        </p:nvGrpSpPr>
        <p:grpSpPr>
          <a:xfrm>
            <a:off x="337587" y="-171000"/>
            <a:ext cx="11521038" cy="108000"/>
            <a:chOff x="337587" y="-171000"/>
            <a:chExt cx="11521038" cy="108000"/>
          </a:xfrm>
        </p:grpSpPr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844C32BC-FFC7-4156-8450-F062DEEC2D26}"/>
                </a:ext>
              </a:extLst>
            </p:cNvPr>
            <p:cNvSpPr/>
            <p:nvPr userDrawn="1"/>
          </p:nvSpPr>
          <p:spPr bwMode="gray">
            <a:xfrm flipH="1">
              <a:off x="3793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3</a:t>
              </a:r>
            </a:p>
          </p:txBody>
        </p:sp>
        <p:sp>
          <p:nvSpPr>
            <p:cNvPr id="70" name="Rechteck 69">
              <a:extLst>
                <a:ext uri="{FF2B5EF4-FFF2-40B4-BE49-F238E27FC236}">
                  <a16:creationId xmlns:a16="http://schemas.microsoft.com/office/drawing/2014/main" id="{CB522D1F-301F-4F6C-934A-9A5FD88B594E}"/>
                </a:ext>
              </a:extLst>
            </p:cNvPr>
            <p:cNvSpPr/>
            <p:nvPr userDrawn="1"/>
          </p:nvSpPr>
          <p:spPr bwMode="gray">
            <a:xfrm flipH="1">
              <a:off x="4297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3</a:t>
              </a:r>
            </a:p>
          </p:txBody>
        </p:sp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BC115247-753C-4E11-9AC3-34DDBCCA0FDF}"/>
                </a:ext>
              </a:extLst>
            </p:cNvPr>
            <p:cNvSpPr/>
            <p:nvPr userDrawn="1"/>
          </p:nvSpPr>
          <p:spPr bwMode="gray">
            <a:xfrm flipH="1">
              <a:off x="2785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4</a:t>
              </a:r>
            </a:p>
          </p:txBody>
        </p: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2728E2DC-A50B-4CCD-965D-60A39BD66DBE}"/>
                </a:ext>
              </a:extLst>
            </p:cNvPr>
            <p:cNvCxnSpPr/>
            <p:nvPr userDrawn="1"/>
          </p:nvCxnSpPr>
          <p:spPr bwMode="gray">
            <a:xfrm>
              <a:off x="337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ACAB70FB-A08B-45B2-B869-DD545EF987E7}"/>
                </a:ext>
              </a:extLst>
            </p:cNvPr>
            <p:cNvCxnSpPr/>
            <p:nvPr userDrawn="1"/>
          </p:nvCxnSpPr>
          <p:spPr bwMode="gray">
            <a:xfrm>
              <a:off x="2929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885669C9-431C-44F6-9AE8-7A5E57ABC7CF}"/>
                </a:ext>
              </a:extLst>
            </p:cNvPr>
            <p:cNvSpPr/>
            <p:nvPr userDrawn="1"/>
          </p:nvSpPr>
          <p:spPr bwMode="gray">
            <a:xfrm flipH="1">
              <a:off x="3289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4</a:t>
              </a:r>
            </a:p>
          </p:txBody>
        </p: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70AC9F0A-5683-4CD1-85D5-3A57143BC320}"/>
                </a:ext>
              </a:extLst>
            </p:cNvPr>
            <p:cNvCxnSpPr/>
            <p:nvPr userDrawn="1"/>
          </p:nvCxnSpPr>
          <p:spPr bwMode="gray">
            <a:xfrm>
              <a:off x="3289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07EDC9E0-22F4-479A-B927-0B6CB2BB04B0}"/>
                </a:ext>
              </a:extLst>
            </p:cNvPr>
            <p:cNvSpPr/>
            <p:nvPr userDrawn="1"/>
          </p:nvSpPr>
          <p:spPr bwMode="gray">
            <a:xfrm flipH="1">
              <a:off x="8761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4</a:t>
              </a:r>
            </a:p>
          </p:txBody>
        </p: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B9E7388A-92A8-4B85-BDF3-CC10611B80F5}"/>
                </a:ext>
              </a:extLst>
            </p:cNvPr>
            <p:cNvCxnSpPr/>
            <p:nvPr userDrawn="1"/>
          </p:nvCxnSpPr>
          <p:spPr bwMode="gray">
            <a:xfrm>
              <a:off x="8905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9E3AF7EE-BCED-426D-9492-A025E7161FE2}"/>
                </a:ext>
              </a:extLst>
            </p:cNvPr>
            <p:cNvSpPr/>
            <p:nvPr userDrawn="1"/>
          </p:nvSpPr>
          <p:spPr bwMode="gray">
            <a:xfrm flipH="1">
              <a:off x="9265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4</a:t>
              </a:r>
            </a:p>
          </p:txBody>
        </p: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42269183-25D8-45C4-81DB-5306B822CDF4}"/>
                </a:ext>
              </a:extLst>
            </p:cNvPr>
            <p:cNvCxnSpPr/>
            <p:nvPr userDrawn="1"/>
          </p:nvCxnSpPr>
          <p:spPr bwMode="gray">
            <a:xfrm>
              <a:off x="9265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>
              <a:extLst>
                <a:ext uri="{FF2B5EF4-FFF2-40B4-BE49-F238E27FC236}">
                  <a16:creationId xmlns:a16="http://schemas.microsoft.com/office/drawing/2014/main" id="{46D8110F-62E4-4738-A388-B8A689052AEE}"/>
                </a:ext>
              </a:extLst>
            </p:cNvPr>
            <p:cNvCxnSpPr/>
            <p:nvPr userDrawn="1"/>
          </p:nvCxnSpPr>
          <p:spPr bwMode="gray">
            <a:xfrm>
              <a:off x="3937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r Verbinder 80">
              <a:extLst>
                <a:ext uri="{FF2B5EF4-FFF2-40B4-BE49-F238E27FC236}">
                  <a16:creationId xmlns:a16="http://schemas.microsoft.com/office/drawing/2014/main" id="{120ABC66-E03F-4881-9F07-95DD10B7040A}"/>
                </a:ext>
              </a:extLst>
            </p:cNvPr>
            <p:cNvCxnSpPr/>
            <p:nvPr userDrawn="1"/>
          </p:nvCxnSpPr>
          <p:spPr bwMode="gray">
            <a:xfrm>
              <a:off x="4297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4FB14787-8CE7-4FBC-B126-211BA0DF630A}"/>
                </a:ext>
              </a:extLst>
            </p:cNvPr>
            <p:cNvSpPr/>
            <p:nvPr userDrawn="1"/>
          </p:nvSpPr>
          <p:spPr bwMode="gray">
            <a:xfrm flipH="1">
              <a:off x="7753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3</a:t>
              </a: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7B4392F4-4CE0-4F4E-BB14-A3C1DAEDB840}"/>
                </a:ext>
              </a:extLst>
            </p:cNvPr>
            <p:cNvSpPr/>
            <p:nvPr userDrawn="1"/>
          </p:nvSpPr>
          <p:spPr bwMode="gray">
            <a:xfrm flipH="1">
              <a:off x="8257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3</a:t>
              </a:r>
            </a:p>
          </p:txBody>
        </p:sp>
        <p:cxnSp>
          <p:nvCxnSpPr>
            <p:cNvPr id="84" name="Gerader Verbinder 83">
              <a:extLst>
                <a:ext uri="{FF2B5EF4-FFF2-40B4-BE49-F238E27FC236}">
                  <a16:creationId xmlns:a16="http://schemas.microsoft.com/office/drawing/2014/main" id="{E020BBFB-F384-4C84-AC0D-56B85B6FFB33}"/>
                </a:ext>
              </a:extLst>
            </p:cNvPr>
            <p:cNvCxnSpPr/>
            <p:nvPr userDrawn="1"/>
          </p:nvCxnSpPr>
          <p:spPr bwMode="gray">
            <a:xfrm>
              <a:off x="7897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>
              <a:extLst>
                <a:ext uri="{FF2B5EF4-FFF2-40B4-BE49-F238E27FC236}">
                  <a16:creationId xmlns:a16="http://schemas.microsoft.com/office/drawing/2014/main" id="{B331D611-F7C0-4806-A0B9-93604616783D}"/>
                </a:ext>
              </a:extLst>
            </p:cNvPr>
            <p:cNvCxnSpPr/>
            <p:nvPr userDrawn="1"/>
          </p:nvCxnSpPr>
          <p:spPr bwMode="gray">
            <a:xfrm>
              <a:off x="8257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65ED58AF-EB71-4A4C-A864-1A731FB50892}"/>
                </a:ext>
              </a:extLst>
            </p:cNvPr>
            <p:cNvSpPr/>
            <p:nvPr userDrawn="1"/>
          </p:nvSpPr>
          <p:spPr bwMode="gray">
            <a:xfrm flipH="1">
              <a:off x="5737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2</a:t>
              </a:r>
            </a:p>
          </p:txBody>
        </p:sp>
        <p:cxnSp>
          <p:nvCxnSpPr>
            <p:cNvPr id="87" name="Gerader Verbinder 86">
              <a:extLst>
                <a:ext uri="{FF2B5EF4-FFF2-40B4-BE49-F238E27FC236}">
                  <a16:creationId xmlns:a16="http://schemas.microsoft.com/office/drawing/2014/main" id="{32F72168-B6A9-4F67-911E-89C23A47822C}"/>
                </a:ext>
              </a:extLst>
            </p:cNvPr>
            <p:cNvCxnSpPr/>
            <p:nvPr userDrawn="1"/>
          </p:nvCxnSpPr>
          <p:spPr bwMode="gray">
            <a:xfrm>
              <a:off x="5881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Rechteck 87">
              <a:extLst>
                <a:ext uri="{FF2B5EF4-FFF2-40B4-BE49-F238E27FC236}">
                  <a16:creationId xmlns:a16="http://schemas.microsoft.com/office/drawing/2014/main" id="{978D048E-C040-46B2-B1F8-40BB32FBA8CF}"/>
                </a:ext>
              </a:extLst>
            </p:cNvPr>
            <p:cNvSpPr/>
            <p:nvPr userDrawn="1"/>
          </p:nvSpPr>
          <p:spPr bwMode="gray">
            <a:xfrm flipH="1">
              <a:off x="6313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2</a:t>
              </a:r>
            </a:p>
          </p:txBody>
        </p:sp>
        <p:cxnSp>
          <p:nvCxnSpPr>
            <p:cNvPr id="89" name="Gerader Verbinder 88">
              <a:extLst>
                <a:ext uri="{FF2B5EF4-FFF2-40B4-BE49-F238E27FC236}">
                  <a16:creationId xmlns:a16="http://schemas.microsoft.com/office/drawing/2014/main" id="{4DB6326F-8DA1-4D92-975F-A94CF82B5F0F}"/>
                </a:ext>
              </a:extLst>
            </p:cNvPr>
            <p:cNvCxnSpPr/>
            <p:nvPr userDrawn="1"/>
          </p:nvCxnSpPr>
          <p:spPr bwMode="gray">
            <a:xfrm>
              <a:off x="6313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>
              <a:extLst>
                <a:ext uri="{FF2B5EF4-FFF2-40B4-BE49-F238E27FC236}">
                  <a16:creationId xmlns:a16="http://schemas.microsoft.com/office/drawing/2014/main" id="{123F798B-ACE1-462C-9D1E-9F544C77B0B1}"/>
                </a:ext>
              </a:extLst>
            </p:cNvPr>
            <p:cNvCxnSpPr/>
            <p:nvPr userDrawn="1"/>
          </p:nvCxnSpPr>
          <p:spPr bwMode="gray">
            <a:xfrm>
              <a:off x="11858625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1" name="Gruppieren 90">
            <a:extLst>
              <a:ext uri="{FF2B5EF4-FFF2-40B4-BE49-F238E27FC236}">
                <a16:creationId xmlns:a16="http://schemas.microsoft.com/office/drawing/2014/main" id="{FD745101-847C-4CD3-8F9C-AE135A4C66E7}"/>
              </a:ext>
            </a:extLst>
          </p:cNvPr>
          <p:cNvGrpSpPr/>
          <p:nvPr userDrawn="1"/>
        </p:nvGrpSpPr>
        <p:grpSpPr>
          <a:xfrm>
            <a:off x="-202413" y="1628775"/>
            <a:ext cx="108000" cy="4320225"/>
            <a:chOff x="-202413" y="1628775"/>
            <a:chExt cx="108000" cy="4320225"/>
          </a:xfrm>
        </p:grpSpPr>
        <p:cxnSp>
          <p:nvCxnSpPr>
            <p:cNvPr id="92" name="Gerader Verbinder 91">
              <a:extLst>
                <a:ext uri="{FF2B5EF4-FFF2-40B4-BE49-F238E27FC236}">
                  <a16:creationId xmlns:a16="http://schemas.microsoft.com/office/drawing/2014/main" id="{7532D49A-2BF0-46CE-A432-4AA92C905461}"/>
                </a:ext>
              </a:extLst>
            </p:cNvPr>
            <p:cNvCxnSpPr/>
            <p:nvPr userDrawn="1"/>
          </p:nvCxnSpPr>
          <p:spPr bwMode="gray">
            <a:xfrm>
              <a:off x="-202413" y="1628775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>
              <a:extLst>
                <a:ext uri="{FF2B5EF4-FFF2-40B4-BE49-F238E27FC236}">
                  <a16:creationId xmlns:a16="http://schemas.microsoft.com/office/drawing/2014/main" id="{0FBEACA8-BAD2-4575-A533-74059DBD12B5}"/>
                </a:ext>
              </a:extLst>
            </p:cNvPr>
            <p:cNvCxnSpPr/>
            <p:nvPr userDrawn="1"/>
          </p:nvCxnSpPr>
          <p:spPr bwMode="gray">
            <a:xfrm>
              <a:off x="-202413" y="5949000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90E8298F-AD8A-4506-B376-7F451F52DF75}"/>
              </a:ext>
            </a:extLst>
          </p:cNvPr>
          <p:cNvGrpSpPr/>
          <p:nvPr userDrawn="1"/>
        </p:nvGrpSpPr>
        <p:grpSpPr>
          <a:xfrm>
            <a:off x="12289587" y="1628775"/>
            <a:ext cx="108000" cy="4320225"/>
            <a:chOff x="-202413" y="1628775"/>
            <a:chExt cx="108000" cy="4320225"/>
          </a:xfrm>
        </p:grpSpPr>
        <p:cxnSp>
          <p:nvCxnSpPr>
            <p:cNvPr id="95" name="Gerader Verbinder 94">
              <a:extLst>
                <a:ext uri="{FF2B5EF4-FFF2-40B4-BE49-F238E27FC236}">
                  <a16:creationId xmlns:a16="http://schemas.microsoft.com/office/drawing/2014/main" id="{033890D1-93C1-4EF6-B73D-437E4E4D5016}"/>
                </a:ext>
              </a:extLst>
            </p:cNvPr>
            <p:cNvCxnSpPr/>
            <p:nvPr userDrawn="1"/>
          </p:nvCxnSpPr>
          <p:spPr bwMode="gray">
            <a:xfrm>
              <a:off x="-202413" y="1628775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r Verbinder 95">
              <a:extLst>
                <a:ext uri="{FF2B5EF4-FFF2-40B4-BE49-F238E27FC236}">
                  <a16:creationId xmlns:a16="http://schemas.microsoft.com/office/drawing/2014/main" id="{D098F0D7-C63A-4D6C-8D3A-5527781B1BF0}"/>
                </a:ext>
              </a:extLst>
            </p:cNvPr>
            <p:cNvCxnSpPr/>
            <p:nvPr userDrawn="1"/>
          </p:nvCxnSpPr>
          <p:spPr bwMode="gray">
            <a:xfrm>
              <a:off x="-202413" y="5949000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3359459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ku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05EB1E7-A023-416D-B033-093E65B45C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5441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8"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05EB1E7-A023-416D-B033-093E65B45C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16629129-17EC-41B8-AA30-94D1A41E37D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3937000" y="2781001"/>
            <a:ext cx="4321175" cy="129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/>
          <a:lstStyle/>
          <a:p>
            <a:pPr algn="ctr"/>
            <a:r>
              <a:rPr lang="de-DE" sz="5400" dirty="0">
                <a:solidFill>
                  <a:srgbClr val="444B52"/>
                </a:solidFill>
                <a:latin typeface="+mj-lt"/>
              </a:rPr>
              <a:t>DISKUSSION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5DC093EB-DDE7-4862-A864-1C86CDBB5C52}"/>
              </a:ext>
            </a:extLst>
          </p:cNvPr>
          <p:cNvGrpSpPr/>
          <p:nvPr userDrawn="1"/>
        </p:nvGrpSpPr>
        <p:grpSpPr>
          <a:xfrm>
            <a:off x="3937000" y="2781000"/>
            <a:ext cx="4321175" cy="1296000"/>
            <a:chOff x="4693747" y="2781000"/>
            <a:chExt cx="2844000" cy="1296000"/>
          </a:xfrm>
        </p:grpSpPr>
        <p:cxnSp>
          <p:nvCxnSpPr>
            <p:cNvPr id="8" name="Gerade Verbindung 12">
              <a:extLst>
                <a:ext uri="{FF2B5EF4-FFF2-40B4-BE49-F238E27FC236}">
                  <a16:creationId xmlns:a16="http://schemas.microsoft.com/office/drawing/2014/main" id="{B3836310-A8D7-42DA-B31C-172FD6194250}"/>
                </a:ext>
              </a:extLst>
            </p:cNvPr>
            <p:cNvCxnSpPr/>
            <p:nvPr userDrawn="1"/>
          </p:nvCxnSpPr>
          <p:spPr bwMode="gray">
            <a:xfrm>
              <a:off x="4693747" y="2781000"/>
              <a:ext cx="2844000" cy="0"/>
            </a:xfrm>
            <a:prstGeom prst="line">
              <a:avLst/>
            </a:prstGeom>
            <a:ln w="6350">
              <a:solidFill>
                <a:srgbClr val="444B5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3">
              <a:extLst>
                <a:ext uri="{FF2B5EF4-FFF2-40B4-BE49-F238E27FC236}">
                  <a16:creationId xmlns:a16="http://schemas.microsoft.com/office/drawing/2014/main" id="{175A165F-0BA4-4AEB-946E-F3B81EBD7C78}"/>
                </a:ext>
              </a:extLst>
            </p:cNvPr>
            <p:cNvCxnSpPr/>
            <p:nvPr userDrawn="1"/>
          </p:nvCxnSpPr>
          <p:spPr bwMode="gray">
            <a:xfrm>
              <a:off x="4693747" y="4077000"/>
              <a:ext cx="2844000" cy="0"/>
            </a:xfrm>
            <a:prstGeom prst="line">
              <a:avLst/>
            </a:prstGeom>
            <a:ln w="6350">
              <a:solidFill>
                <a:srgbClr val="444B5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7B9BEA6-A3F0-4F51-9D38-2069729560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37000" y="4221163"/>
            <a:ext cx="4321175" cy="1728000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C9134C82-EDFB-4834-85DD-03B3DA37FB22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160904" y="6327659"/>
            <a:ext cx="1697323" cy="274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8EEF9540-8E60-477D-9937-50054F012CC7}"/>
              </a:ext>
            </a:extLst>
          </p:cNvPr>
          <p:cNvGrpSpPr/>
          <p:nvPr userDrawn="1"/>
        </p:nvGrpSpPr>
        <p:grpSpPr>
          <a:xfrm>
            <a:off x="337587" y="-171000"/>
            <a:ext cx="11521038" cy="108000"/>
            <a:chOff x="337587" y="-171000"/>
            <a:chExt cx="11521038" cy="108000"/>
          </a:xfrm>
        </p:grpSpPr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770C9EEE-06D8-4169-A1EF-FF56CA294F52}"/>
                </a:ext>
              </a:extLst>
            </p:cNvPr>
            <p:cNvSpPr/>
            <p:nvPr userDrawn="1"/>
          </p:nvSpPr>
          <p:spPr bwMode="gray">
            <a:xfrm flipH="1">
              <a:off x="3793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3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FBE63A08-0754-4F30-86C9-49B939D0EC39}"/>
                </a:ext>
              </a:extLst>
            </p:cNvPr>
            <p:cNvSpPr/>
            <p:nvPr userDrawn="1"/>
          </p:nvSpPr>
          <p:spPr bwMode="gray">
            <a:xfrm flipH="1">
              <a:off x="4297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3</a:t>
              </a:r>
            </a:p>
          </p:txBody>
        </p:sp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C2984D9B-7DEA-4C9D-A5B2-1949282B9F6C}"/>
                </a:ext>
              </a:extLst>
            </p:cNvPr>
            <p:cNvSpPr/>
            <p:nvPr userDrawn="1"/>
          </p:nvSpPr>
          <p:spPr bwMode="gray">
            <a:xfrm flipH="1">
              <a:off x="2785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4</a:t>
              </a:r>
            </a:p>
          </p:txBody>
        </p: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10486CDD-C1A9-4C74-8AF3-0DF85C472F0A}"/>
                </a:ext>
              </a:extLst>
            </p:cNvPr>
            <p:cNvCxnSpPr/>
            <p:nvPr userDrawn="1"/>
          </p:nvCxnSpPr>
          <p:spPr bwMode="gray">
            <a:xfrm>
              <a:off x="337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46BF2626-917C-4D82-A224-09239815BE20}"/>
                </a:ext>
              </a:extLst>
            </p:cNvPr>
            <p:cNvCxnSpPr/>
            <p:nvPr userDrawn="1"/>
          </p:nvCxnSpPr>
          <p:spPr bwMode="gray">
            <a:xfrm>
              <a:off x="2929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3D6E8FA2-EBE9-4A34-9866-4177509B9AF4}"/>
                </a:ext>
              </a:extLst>
            </p:cNvPr>
            <p:cNvSpPr/>
            <p:nvPr userDrawn="1"/>
          </p:nvSpPr>
          <p:spPr bwMode="gray">
            <a:xfrm flipH="1">
              <a:off x="3289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4</a:t>
              </a:r>
            </a:p>
          </p:txBody>
        </p: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BF784541-0775-4A31-9304-FE950D305558}"/>
                </a:ext>
              </a:extLst>
            </p:cNvPr>
            <p:cNvCxnSpPr/>
            <p:nvPr userDrawn="1"/>
          </p:nvCxnSpPr>
          <p:spPr bwMode="gray">
            <a:xfrm>
              <a:off x="3289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F810FFBA-4F29-49A3-B634-3790130A15FB}"/>
                </a:ext>
              </a:extLst>
            </p:cNvPr>
            <p:cNvSpPr/>
            <p:nvPr userDrawn="1"/>
          </p:nvSpPr>
          <p:spPr bwMode="gray">
            <a:xfrm flipH="1">
              <a:off x="8761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4</a:t>
              </a:r>
            </a:p>
          </p:txBody>
        </p: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14A0C2C3-492F-493C-ACBD-5628B0FCA3E2}"/>
                </a:ext>
              </a:extLst>
            </p:cNvPr>
            <p:cNvCxnSpPr/>
            <p:nvPr userDrawn="1"/>
          </p:nvCxnSpPr>
          <p:spPr bwMode="gray">
            <a:xfrm>
              <a:off x="8905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1B9DBA62-E1B3-417E-85D7-6116E554C00B}"/>
                </a:ext>
              </a:extLst>
            </p:cNvPr>
            <p:cNvSpPr/>
            <p:nvPr userDrawn="1"/>
          </p:nvSpPr>
          <p:spPr bwMode="gray">
            <a:xfrm flipH="1">
              <a:off x="9265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4</a:t>
              </a:r>
            </a:p>
          </p:txBody>
        </p: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8A4BCF90-C996-4C8D-A81D-A6D439BD7183}"/>
                </a:ext>
              </a:extLst>
            </p:cNvPr>
            <p:cNvCxnSpPr/>
            <p:nvPr userDrawn="1"/>
          </p:nvCxnSpPr>
          <p:spPr bwMode="gray">
            <a:xfrm>
              <a:off x="9265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5E0CFB4A-35CE-4E2B-89D3-2F12370EA956}"/>
                </a:ext>
              </a:extLst>
            </p:cNvPr>
            <p:cNvCxnSpPr/>
            <p:nvPr userDrawn="1"/>
          </p:nvCxnSpPr>
          <p:spPr bwMode="gray">
            <a:xfrm>
              <a:off x="3937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DCC0B9A3-4D51-4F4E-AE91-A0456ABCD564}"/>
                </a:ext>
              </a:extLst>
            </p:cNvPr>
            <p:cNvCxnSpPr/>
            <p:nvPr userDrawn="1"/>
          </p:nvCxnSpPr>
          <p:spPr bwMode="gray">
            <a:xfrm>
              <a:off x="4297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61D74F59-959C-4EC5-914D-C43181BA0B04}"/>
                </a:ext>
              </a:extLst>
            </p:cNvPr>
            <p:cNvSpPr/>
            <p:nvPr userDrawn="1"/>
          </p:nvSpPr>
          <p:spPr bwMode="gray">
            <a:xfrm flipH="1">
              <a:off x="7753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3</a:t>
              </a:r>
            </a:p>
          </p:txBody>
        </p:sp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8F4EC6CC-7B24-450C-B0A0-99FE001774C9}"/>
                </a:ext>
              </a:extLst>
            </p:cNvPr>
            <p:cNvSpPr/>
            <p:nvPr userDrawn="1"/>
          </p:nvSpPr>
          <p:spPr bwMode="gray">
            <a:xfrm flipH="1">
              <a:off x="8257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3</a:t>
              </a:r>
            </a:p>
          </p:txBody>
        </p: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CDCD5A03-6B71-4986-ACC7-A728576F164C}"/>
                </a:ext>
              </a:extLst>
            </p:cNvPr>
            <p:cNvCxnSpPr/>
            <p:nvPr userDrawn="1"/>
          </p:nvCxnSpPr>
          <p:spPr bwMode="gray">
            <a:xfrm>
              <a:off x="7897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35E2D488-1BF5-4040-BA37-DD67B189C0F3}"/>
                </a:ext>
              </a:extLst>
            </p:cNvPr>
            <p:cNvCxnSpPr/>
            <p:nvPr userDrawn="1"/>
          </p:nvCxnSpPr>
          <p:spPr bwMode="gray">
            <a:xfrm>
              <a:off x="8257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6713CB6B-6390-49D1-977D-EAF2617A81FF}"/>
                </a:ext>
              </a:extLst>
            </p:cNvPr>
            <p:cNvSpPr/>
            <p:nvPr userDrawn="1"/>
          </p:nvSpPr>
          <p:spPr bwMode="gray">
            <a:xfrm flipH="1">
              <a:off x="5737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2</a:t>
              </a:r>
            </a:p>
          </p:txBody>
        </p:sp>
        <p:cxnSp>
          <p:nvCxnSpPr>
            <p:cNvPr id="80" name="Gerader Verbinder 79">
              <a:extLst>
                <a:ext uri="{FF2B5EF4-FFF2-40B4-BE49-F238E27FC236}">
                  <a16:creationId xmlns:a16="http://schemas.microsoft.com/office/drawing/2014/main" id="{22CFE306-4020-4849-A29C-AB510C5880C8}"/>
                </a:ext>
              </a:extLst>
            </p:cNvPr>
            <p:cNvCxnSpPr/>
            <p:nvPr userDrawn="1"/>
          </p:nvCxnSpPr>
          <p:spPr bwMode="gray">
            <a:xfrm>
              <a:off x="5881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B3361D92-EDD1-4106-A62C-8E3A2186EEB3}"/>
                </a:ext>
              </a:extLst>
            </p:cNvPr>
            <p:cNvSpPr/>
            <p:nvPr userDrawn="1"/>
          </p:nvSpPr>
          <p:spPr bwMode="gray">
            <a:xfrm flipH="1">
              <a:off x="6313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2</a:t>
              </a:r>
            </a:p>
          </p:txBody>
        </p:sp>
        <p:cxnSp>
          <p:nvCxnSpPr>
            <p:cNvPr id="82" name="Gerader Verbinder 81">
              <a:extLst>
                <a:ext uri="{FF2B5EF4-FFF2-40B4-BE49-F238E27FC236}">
                  <a16:creationId xmlns:a16="http://schemas.microsoft.com/office/drawing/2014/main" id="{1B7485F1-5E03-435D-8D63-A4D1C089479F}"/>
                </a:ext>
              </a:extLst>
            </p:cNvPr>
            <p:cNvCxnSpPr/>
            <p:nvPr userDrawn="1"/>
          </p:nvCxnSpPr>
          <p:spPr bwMode="gray">
            <a:xfrm>
              <a:off x="6313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r Verbinder 82">
              <a:extLst>
                <a:ext uri="{FF2B5EF4-FFF2-40B4-BE49-F238E27FC236}">
                  <a16:creationId xmlns:a16="http://schemas.microsoft.com/office/drawing/2014/main" id="{7F9D6452-DC08-4541-843C-8A6917587B07}"/>
                </a:ext>
              </a:extLst>
            </p:cNvPr>
            <p:cNvCxnSpPr/>
            <p:nvPr userDrawn="1"/>
          </p:nvCxnSpPr>
          <p:spPr bwMode="gray">
            <a:xfrm>
              <a:off x="11858625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BB357001-C0DE-44AD-9328-A8239D210E4D}"/>
              </a:ext>
            </a:extLst>
          </p:cNvPr>
          <p:cNvGrpSpPr/>
          <p:nvPr userDrawn="1"/>
        </p:nvGrpSpPr>
        <p:grpSpPr>
          <a:xfrm>
            <a:off x="-202413" y="1628775"/>
            <a:ext cx="108000" cy="4320225"/>
            <a:chOff x="-202413" y="1628775"/>
            <a:chExt cx="108000" cy="4320225"/>
          </a:xfrm>
        </p:grpSpPr>
        <p:cxnSp>
          <p:nvCxnSpPr>
            <p:cNvPr id="85" name="Gerader Verbinder 84">
              <a:extLst>
                <a:ext uri="{FF2B5EF4-FFF2-40B4-BE49-F238E27FC236}">
                  <a16:creationId xmlns:a16="http://schemas.microsoft.com/office/drawing/2014/main" id="{BC82226C-93D1-40E1-B3EE-A18E40EAE023}"/>
                </a:ext>
              </a:extLst>
            </p:cNvPr>
            <p:cNvCxnSpPr/>
            <p:nvPr userDrawn="1"/>
          </p:nvCxnSpPr>
          <p:spPr bwMode="gray">
            <a:xfrm>
              <a:off x="-202413" y="1628775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>
              <a:extLst>
                <a:ext uri="{FF2B5EF4-FFF2-40B4-BE49-F238E27FC236}">
                  <a16:creationId xmlns:a16="http://schemas.microsoft.com/office/drawing/2014/main" id="{F5C50D04-D4AD-47B0-BB1A-B5F97B197872}"/>
                </a:ext>
              </a:extLst>
            </p:cNvPr>
            <p:cNvCxnSpPr/>
            <p:nvPr userDrawn="1"/>
          </p:nvCxnSpPr>
          <p:spPr bwMode="gray">
            <a:xfrm>
              <a:off x="-202413" y="5949000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B8879403-914B-4186-8225-EAD8049A9AD6}"/>
              </a:ext>
            </a:extLst>
          </p:cNvPr>
          <p:cNvGrpSpPr/>
          <p:nvPr userDrawn="1"/>
        </p:nvGrpSpPr>
        <p:grpSpPr>
          <a:xfrm>
            <a:off x="12289587" y="1628775"/>
            <a:ext cx="108000" cy="4320225"/>
            <a:chOff x="-202413" y="1628775"/>
            <a:chExt cx="108000" cy="4320225"/>
          </a:xfrm>
        </p:grpSpPr>
        <p:cxnSp>
          <p:nvCxnSpPr>
            <p:cNvPr id="88" name="Gerader Verbinder 87">
              <a:extLst>
                <a:ext uri="{FF2B5EF4-FFF2-40B4-BE49-F238E27FC236}">
                  <a16:creationId xmlns:a16="http://schemas.microsoft.com/office/drawing/2014/main" id="{D43F4313-AD12-44F6-968D-D1A59F524B90}"/>
                </a:ext>
              </a:extLst>
            </p:cNvPr>
            <p:cNvCxnSpPr/>
            <p:nvPr userDrawn="1"/>
          </p:nvCxnSpPr>
          <p:spPr bwMode="gray">
            <a:xfrm>
              <a:off x="-202413" y="1628775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>
              <a:extLst>
                <a:ext uri="{FF2B5EF4-FFF2-40B4-BE49-F238E27FC236}">
                  <a16:creationId xmlns:a16="http://schemas.microsoft.com/office/drawing/2014/main" id="{FF01E2E8-2F15-4EFB-AF70-B8AA11723A0C}"/>
                </a:ext>
              </a:extLst>
            </p:cNvPr>
            <p:cNvCxnSpPr/>
            <p:nvPr userDrawn="1"/>
          </p:nvCxnSpPr>
          <p:spPr bwMode="gray">
            <a:xfrm>
              <a:off x="-202413" y="5949000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7184561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C7E1CBAC-5B45-48EC-906C-7E903A0C2F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8659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2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9BBF029A-0094-4E81-A242-8011DA25B89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881587" y="0"/>
            <a:ext cx="6313588" cy="5949950"/>
          </a:xfrm>
          <a:solidFill>
            <a:srgbClr val="CACFD4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D6D2E36-6604-475A-B92B-642B0CEFE1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-1" y="1629000"/>
            <a:ext cx="6313587" cy="4320000"/>
          </a:xfrm>
          <a:solidFill>
            <a:schemeClr val="bg2"/>
          </a:solidFill>
        </p:spPr>
        <p:txBody>
          <a:bodyPr vert="horz" lIns="842400" tIns="720000" rIns="360000" bIns="144000" rtlCol="0">
            <a:noAutofit/>
          </a:bodyPr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lang="de-DE" dirty="0" smtClean="0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Vorname und Nachname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E0789BD5-7065-4BD6-950D-D27DDFC53B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947" y="333000"/>
            <a:ext cx="5184640" cy="935760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Titelformat durch Klicken bearbeit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FD25318-6672-4CC5-986C-0C31F0C8640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4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1C67E1-FBCD-48BC-AA33-C8701598E14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1C322E78-0257-4D8D-B77B-0840B737C2A8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5D2A09-0A26-4DAE-84B9-05BF28E2772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Textplatzhalter 13">
            <a:extLst>
              <a:ext uri="{FF2B5EF4-FFF2-40B4-BE49-F238E27FC236}">
                <a16:creationId xmlns:a16="http://schemas.microsoft.com/office/drawing/2014/main" id="{91465E4E-CC57-4B21-B6E8-157F4AC9D22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1587" y="2781000"/>
            <a:ext cx="5040000" cy="432000"/>
          </a:xfrm>
          <a:noFill/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>
                <a:solidFill>
                  <a:schemeClr val="tx2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Position | Abteilung</a:t>
            </a:r>
          </a:p>
        </p:txBody>
      </p:sp>
      <p:sp>
        <p:nvSpPr>
          <p:cNvPr id="21" name="Textplatzhalter 13">
            <a:extLst>
              <a:ext uri="{FF2B5EF4-FFF2-40B4-BE49-F238E27FC236}">
                <a16:creationId xmlns:a16="http://schemas.microsoft.com/office/drawing/2014/main" id="{F3E4A2F9-D08C-42D7-ABFC-0B32223742B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1587" y="3213000"/>
            <a:ext cx="5040000" cy="2736000"/>
          </a:xfrm>
          <a:noFill/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3pPr>
            <a:lvl4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4pPr>
            <a:lvl5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5pPr>
            <a:lvl6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6pPr>
            <a:lvl7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7pPr>
            <a:lvl8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8pPr>
            <a:lvl9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Kontaktinformatione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146CFB7-BD03-43C6-882B-8B3BAABF678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1426250" y="332657"/>
            <a:ext cx="431957" cy="432000"/>
          </a:xfrm>
          <a:custGeom>
            <a:avLst/>
            <a:gdLst>
              <a:gd name="connsiteX0" fmla="*/ 238550 w 431957"/>
              <a:gd name="connsiteY0" fmla="*/ 259675 h 432000"/>
              <a:gd name="connsiteX1" fmla="*/ 304776 w 431957"/>
              <a:gd name="connsiteY1" fmla="*/ 259675 h 432000"/>
              <a:gd name="connsiteX2" fmla="*/ 304776 w 431957"/>
              <a:gd name="connsiteY2" fmla="*/ 431957 h 432000"/>
              <a:gd name="connsiteX3" fmla="*/ 238550 w 431957"/>
              <a:gd name="connsiteY3" fmla="*/ 431957 h 432000"/>
              <a:gd name="connsiteX4" fmla="*/ 333461 w 431957"/>
              <a:gd name="connsiteY4" fmla="*/ 115344 h 432000"/>
              <a:gd name="connsiteX5" fmla="*/ 299851 w 431957"/>
              <a:gd name="connsiteY5" fmla="*/ 148954 h 432000"/>
              <a:gd name="connsiteX6" fmla="*/ 333461 w 431957"/>
              <a:gd name="connsiteY6" fmla="*/ 182563 h 432000"/>
              <a:gd name="connsiteX7" fmla="*/ 367070 w 431957"/>
              <a:gd name="connsiteY7" fmla="*/ 148954 h 432000"/>
              <a:gd name="connsiteX8" fmla="*/ 333461 w 431957"/>
              <a:gd name="connsiteY8" fmla="*/ 115344 h 432000"/>
              <a:gd name="connsiteX9" fmla="*/ 91325 w 431957"/>
              <a:gd name="connsiteY9" fmla="*/ 0 h 432000"/>
              <a:gd name="connsiteX10" fmla="*/ 340675 w 431957"/>
              <a:gd name="connsiteY10" fmla="*/ 0 h 432000"/>
              <a:gd name="connsiteX11" fmla="*/ 431957 w 431957"/>
              <a:gd name="connsiteY11" fmla="*/ 91325 h 432000"/>
              <a:gd name="connsiteX12" fmla="*/ 431957 w 431957"/>
              <a:gd name="connsiteY12" fmla="*/ 340675 h 432000"/>
              <a:gd name="connsiteX13" fmla="*/ 360115 w 431957"/>
              <a:gd name="connsiteY13" fmla="*/ 429883 h 432000"/>
              <a:gd name="connsiteX14" fmla="*/ 360115 w 431957"/>
              <a:gd name="connsiteY14" fmla="*/ 215698 h 432000"/>
              <a:gd name="connsiteX15" fmla="*/ 238205 w 431957"/>
              <a:gd name="connsiteY15" fmla="*/ 215698 h 432000"/>
              <a:gd name="connsiteX16" fmla="*/ 238205 w 431957"/>
              <a:gd name="connsiteY16" fmla="*/ 189821 h 432000"/>
              <a:gd name="connsiteX17" fmla="*/ 267106 w 431957"/>
              <a:gd name="connsiteY17" fmla="*/ 158069 h 432000"/>
              <a:gd name="connsiteX18" fmla="*/ 282139 w 431957"/>
              <a:gd name="connsiteY18" fmla="*/ 159062 h 432000"/>
              <a:gd name="connsiteX19" fmla="*/ 282139 w 431957"/>
              <a:gd name="connsiteY19" fmla="*/ 117418 h 432000"/>
              <a:gd name="connsiteX20" fmla="*/ 251640 w 431957"/>
              <a:gd name="connsiteY20" fmla="*/ 115344 h 432000"/>
              <a:gd name="connsiteX21" fmla="*/ 182563 w 431957"/>
              <a:gd name="connsiteY21" fmla="*/ 182909 h 432000"/>
              <a:gd name="connsiteX22" fmla="*/ 182563 w 431957"/>
              <a:gd name="connsiteY22" fmla="*/ 215741 h 432000"/>
              <a:gd name="connsiteX23" fmla="*/ 160358 w 431957"/>
              <a:gd name="connsiteY23" fmla="*/ 215741 h 432000"/>
              <a:gd name="connsiteX24" fmla="*/ 160358 w 431957"/>
              <a:gd name="connsiteY24" fmla="*/ 259675 h 432000"/>
              <a:gd name="connsiteX25" fmla="*/ 182477 w 431957"/>
              <a:gd name="connsiteY25" fmla="*/ 259675 h 432000"/>
              <a:gd name="connsiteX26" fmla="*/ 182477 w 431957"/>
              <a:gd name="connsiteY26" fmla="*/ 432000 h 432000"/>
              <a:gd name="connsiteX27" fmla="*/ 91325 w 431957"/>
              <a:gd name="connsiteY27" fmla="*/ 432000 h 432000"/>
              <a:gd name="connsiteX28" fmla="*/ 0 w 431957"/>
              <a:gd name="connsiteY28" fmla="*/ 340675 h 432000"/>
              <a:gd name="connsiteX29" fmla="*/ 0 w 431957"/>
              <a:gd name="connsiteY29" fmla="*/ 91325 h 432000"/>
              <a:gd name="connsiteX30" fmla="*/ 91325 w 431957"/>
              <a:gd name="connsiteY30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431957" h="432000">
                <a:moveTo>
                  <a:pt x="238550" y="259675"/>
                </a:moveTo>
                <a:lnTo>
                  <a:pt x="304776" y="259675"/>
                </a:lnTo>
                <a:lnTo>
                  <a:pt x="304776" y="431957"/>
                </a:lnTo>
                <a:lnTo>
                  <a:pt x="238550" y="431957"/>
                </a:lnTo>
                <a:close/>
                <a:moveTo>
                  <a:pt x="333461" y="115344"/>
                </a:moveTo>
                <a:cubicBezTo>
                  <a:pt x="314885" y="115344"/>
                  <a:pt x="299851" y="130378"/>
                  <a:pt x="299851" y="148954"/>
                </a:cubicBezTo>
                <a:cubicBezTo>
                  <a:pt x="299851" y="167530"/>
                  <a:pt x="314885" y="182563"/>
                  <a:pt x="333461" y="182563"/>
                </a:cubicBezTo>
                <a:cubicBezTo>
                  <a:pt x="352037" y="182563"/>
                  <a:pt x="367070" y="167530"/>
                  <a:pt x="367070" y="148954"/>
                </a:cubicBezTo>
                <a:cubicBezTo>
                  <a:pt x="367070" y="130378"/>
                  <a:pt x="352037" y="115344"/>
                  <a:pt x="333461" y="115344"/>
                </a:cubicBezTo>
                <a:close/>
                <a:moveTo>
                  <a:pt x="91325" y="0"/>
                </a:moveTo>
                <a:lnTo>
                  <a:pt x="340675" y="0"/>
                </a:lnTo>
                <a:cubicBezTo>
                  <a:pt x="391133" y="0"/>
                  <a:pt x="432000" y="40867"/>
                  <a:pt x="431957" y="91325"/>
                </a:cubicBezTo>
                <a:lnTo>
                  <a:pt x="431957" y="340675"/>
                </a:lnTo>
                <a:cubicBezTo>
                  <a:pt x="431957" y="384394"/>
                  <a:pt x="401198" y="420941"/>
                  <a:pt x="360115" y="429883"/>
                </a:cubicBezTo>
                <a:lnTo>
                  <a:pt x="360115" y="215698"/>
                </a:lnTo>
                <a:lnTo>
                  <a:pt x="238205" y="215698"/>
                </a:lnTo>
                <a:lnTo>
                  <a:pt x="238205" y="189821"/>
                </a:lnTo>
                <a:cubicBezTo>
                  <a:pt x="238205" y="166190"/>
                  <a:pt x="247968" y="158069"/>
                  <a:pt x="267106" y="158069"/>
                </a:cubicBezTo>
                <a:cubicBezTo>
                  <a:pt x="272462" y="158069"/>
                  <a:pt x="277042" y="158501"/>
                  <a:pt x="282139" y="159062"/>
                </a:cubicBezTo>
                <a:lnTo>
                  <a:pt x="282139" y="117418"/>
                </a:lnTo>
                <a:cubicBezTo>
                  <a:pt x="273067" y="116208"/>
                  <a:pt x="263434" y="115344"/>
                  <a:pt x="251640" y="115344"/>
                </a:cubicBezTo>
                <a:cubicBezTo>
                  <a:pt x="209693" y="115344"/>
                  <a:pt x="182563" y="137333"/>
                  <a:pt x="182563" y="182909"/>
                </a:cubicBezTo>
                <a:lnTo>
                  <a:pt x="182563" y="215741"/>
                </a:lnTo>
                <a:lnTo>
                  <a:pt x="160358" y="215741"/>
                </a:lnTo>
                <a:lnTo>
                  <a:pt x="160358" y="259675"/>
                </a:lnTo>
                <a:lnTo>
                  <a:pt x="182477" y="259675"/>
                </a:lnTo>
                <a:lnTo>
                  <a:pt x="182477" y="432000"/>
                </a:lnTo>
                <a:lnTo>
                  <a:pt x="91325" y="432000"/>
                </a:lnTo>
                <a:cubicBezTo>
                  <a:pt x="40867" y="432000"/>
                  <a:pt x="0" y="391090"/>
                  <a:pt x="0" y="340675"/>
                </a:cubicBezTo>
                <a:lnTo>
                  <a:pt x="0" y="91325"/>
                </a:lnTo>
                <a:cubicBezTo>
                  <a:pt x="0" y="40867"/>
                  <a:pt x="40867" y="0"/>
                  <a:pt x="91325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 sz="1800" b="0" dirty="0" smtClean="0">
                <a:solidFill>
                  <a:schemeClr val="tx2"/>
                </a:solidFill>
              </a:defRPr>
            </a:lvl1pPr>
            <a:lvl2pPr>
              <a:defRPr lang="de-DE" sz="1800" b="0" dirty="0" smtClean="0">
                <a:solidFill>
                  <a:schemeClr val="tx2"/>
                </a:solidFill>
              </a:defRPr>
            </a:lvl2pPr>
            <a:lvl3pPr>
              <a:defRPr lang="de-DE" sz="1800" b="0" dirty="0" smtClean="0">
                <a:solidFill>
                  <a:schemeClr val="tx2"/>
                </a:solidFill>
              </a:defRPr>
            </a:lvl3pPr>
            <a:lvl4pPr>
              <a:defRPr lang="de-DE" sz="1800" b="0" dirty="0" smtClean="0">
                <a:solidFill>
                  <a:schemeClr val="tx2"/>
                </a:solidFill>
              </a:defRPr>
            </a:lvl4pPr>
            <a:lvl5pPr>
              <a:defRPr lang="de-DE" sz="1800" b="0" dirty="0" smtClean="0">
                <a:solidFill>
                  <a:schemeClr val="tx2"/>
                </a:solidFill>
              </a:defRPr>
            </a:lvl5pPr>
            <a:lvl6pPr>
              <a:defRPr lang="de-DE" sz="1800" b="0" dirty="0" smtClean="0">
                <a:solidFill>
                  <a:schemeClr val="tx2"/>
                </a:solidFill>
              </a:defRPr>
            </a:lvl6pPr>
            <a:lvl7pPr>
              <a:defRPr lang="de-DE" sz="1800" b="0" dirty="0" smtClean="0">
                <a:solidFill>
                  <a:schemeClr val="tx2"/>
                </a:solidFill>
              </a:defRPr>
            </a:lvl7pPr>
            <a:lvl8pPr>
              <a:defRPr lang="de-DE" sz="1800" b="0" dirty="0" smtClean="0">
                <a:solidFill>
                  <a:schemeClr val="tx2"/>
                </a:solidFill>
              </a:defRPr>
            </a:lvl8pPr>
            <a:lvl9pPr>
              <a:defRPr lang="de-DE" sz="1800" b="0" dirty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1957365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C7E1CBAC-5B45-48EC-906C-7E903A0C2F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1083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6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C7E1CBAC-5B45-48EC-906C-7E903A0C2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D6D2E36-6604-475A-B92B-642B0CEFE1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-1" y="3069000"/>
            <a:ext cx="11858626" cy="2880000"/>
          </a:xfrm>
          <a:solidFill>
            <a:schemeClr val="bg2"/>
          </a:solidFill>
        </p:spPr>
        <p:txBody>
          <a:bodyPr vert="horz" lIns="6098400" tIns="360000" rIns="360000" bIns="144000" rtlCol="0">
            <a:noAutofit/>
          </a:bodyPr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lang="de-DE" b="1" dirty="0" smtClean="0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Vorname und Nachname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E0789BD5-7065-4BD6-950D-D27DDFC53B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947" y="333000"/>
            <a:ext cx="8568640" cy="935760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Titelformat durch Klicken bearbeit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FD25318-6672-4CC5-986C-0C31F0C8640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4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1C67E1-FBCD-48BC-AA33-C8701598E14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5A78D0A4-F375-4B35-A96D-BCA05F3E6D4D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5D2A09-0A26-4DAE-84B9-05BF28E2772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Textplatzhalter 13">
            <a:extLst>
              <a:ext uri="{FF2B5EF4-FFF2-40B4-BE49-F238E27FC236}">
                <a16:creationId xmlns:a16="http://schemas.microsoft.com/office/drawing/2014/main" id="{91465E4E-CC57-4B21-B6E8-157F4AC9D22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7587" y="3861000"/>
            <a:ext cx="5760000" cy="432000"/>
          </a:xfrm>
          <a:noFill/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Position | Abteilung</a:t>
            </a:r>
          </a:p>
        </p:txBody>
      </p:sp>
      <p:sp>
        <p:nvSpPr>
          <p:cNvPr id="21" name="Textplatzhalter 13">
            <a:extLst>
              <a:ext uri="{FF2B5EF4-FFF2-40B4-BE49-F238E27FC236}">
                <a16:creationId xmlns:a16="http://schemas.microsoft.com/office/drawing/2014/main" id="{F3E4A2F9-D08C-42D7-ABFC-0B32223742B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7587" y="4293000"/>
            <a:ext cx="5760000" cy="1656950"/>
          </a:xfrm>
          <a:noFill/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3pPr>
            <a:lvl4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4pPr>
            <a:lvl5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5pPr>
            <a:lvl6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6pPr>
            <a:lvl7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7pPr>
            <a:lvl8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8pPr>
            <a:lvl9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Kontaktinformation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471A665F-9CF4-4DA3-AC1B-63B4C19E427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884005" y="4869000"/>
            <a:ext cx="781582" cy="645311"/>
          </a:xfrm>
          <a:custGeom>
            <a:avLst/>
            <a:gdLst>
              <a:gd name="connsiteX0" fmla="*/ 563344 w 781582"/>
              <a:gd name="connsiteY0" fmla="*/ 225569 h 645311"/>
              <a:gd name="connsiteX1" fmla="*/ 781503 w 781582"/>
              <a:gd name="connsiteY1" fmla="*/ 393332 h 645311"/>
              <a:gd name="connsiteX2" fmla="*/ 620370 w 781582"/>
              <a:gd name="connsiteY2" fmla="*/ 545181 h 645311"/>
              <a:gd name="connsiteX3" fmla="*/ 678060 w 781582"/>
              <a:gd name="connsiteY3" fmla="*/ 618121 h 645311"/>
              <a:gd name="connsiteX4" fmla="*/ 668113 w 781582"/>
              <a:gd name="connsiteY4" fmla="*/ 645308 h 645311"/>
              <a:gd name="connsiteX5" fmla="*/ 573291 w 781582"/>
              <a:gd name="connsiteY5" fmla="*/ 620110 h 645311"/>
              <a:gd name="connsiteX6" fmla="*/ 518917 w 781582"/>
              <a:gd name="connsiteY6" fmla="*/ 552475 h 645311"/>
              <a:gd name="connsiteX7" fmla="*/ 350490 w 781582"/>
              <a:gd name="connsiteY7" fmla="*/ 390017 h 645311"/>
              <a:gd name="connsiteX8" fmla="*/ 563344 w 781582"/>
              <a:gd name="connsiteY8" fmla="*/ 225569 h 645311"/>
              <a:gd name="connsiteX9" fmla="*/ 335114 w 781582"/>
              <a:gd name="connsiteY9" fmla="*/ 183 h 645311"/>
              <a:gd name="connsiteX10" fmla="*/ 592802 w 781582"/>
              <a:gd name="connsiteY10" fmla="*/ 134925 h 645311"/>
              <a:gd name="connsiteX11" fmla="*/ 561938 w 781582"/>
              <a:gd name="connsiteY11" fmla="*/ 166472 h 645311"/>
              <a:gd name="connsiteX12" fmla="*/ 302888 w 781582"/>
              <a:gd name="connsiteY12" fmla="*/ 43960 h 645311"/>
              <a:gd name="connsiteX13" fmla="*/ 49987 w 781582"/>
              <a:gd name="connsiteY13" fmla="*/ 234270 h 645311"/>
              <a:gd name="connsiteX14" fmla="*/ 211823 w 781582"/>
              <a:gd name="connsiteY14" fmla="*/ 436333 h 645311"/>
              <a:gd name="connsiteX15" fmla="*/ 317918 w 781582"/>
              <a:gd name="connsiteY15" fmla="*/ 455622 h 645311"/>
              <a:gd name="connsiteX16" fmla="*/ 292198 w 781582"/>
              <a:gd name="connsiteY16" fmla="*/ 587438 h 645311"/>
              <a:gd name="connsiteX17" fmla="*/ 359051 w 781582"/>
              <a:gd name="connsiteY17" fmla="*/ 545361 h 645311"/>
              <a:gd name="connsiteX18" fmla="*/ 391301 w 781582"/>
              <a:gd name="connsiteY18" fmla="*/ 565877 h 645311"/>
              <a:gd name="connsiteX19" fmla="*/ 297021 w 781582"/>
              <a:gd name="connsiteY19" fmla="*/ 630037 h 645311"/>
              <a:gd name="connsiteX20" fmla="*/ 202982 w 781582"/>
              <a:gd name="connsiteY20" fmla="*/ 642093 h 645311"/>
              <a:gd name="connsiteX21" fmla="*/ 209612 w 781582"/>
              <a:gd name="connsiteY21" fmla="*/ 601243 h 645311"/>
              <a:gd name="connsiteX22" fmla="*/ 260048 w 781582"/>
              <a:gd name="connsiteY22" fmla="*/ 555288 h 645311"/>
              <a:gd name="connsiteX23" fmla="*/ 276786 w 781582"/>
              <a:gd name="connsiteY23" fmla="*/ 494725 h 645311"/>
              <a:gd name="connsiteX24" fmla="*/ 55895 w 781582"/>
              <a:gd name="connsiteY24" fmla="*/ 400968 h 645311"/>
              <a:gd name="connsiteX25" fmla="*/ 1240 w 781582"/>
              <a:gd name="connsiteY25" fmla="*/ 219319 h 645311"/>
              <a:gd name="connsiteX26" fmla="*/ 281890 w 781582"/>
              <a:gd name="connsiteY26" fmla="*/ 1885 h 645311"/>
              <a:gd name="connsiteX27" fmla="*/ 335114 w 781582"/>
              <a:gd name="connsiteY27" fmla="*/ 183 h 645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781582" h="645311">
                <a:moveTo>
                  <a:pt x="563344" y="225569"/>
                </a:moveTo>
                <a:cubicBezTo>
                  <a:pt x="651315" y="225789"/>
                  <a:pt x="775093" y="272428"/>
                  <a:pt x="781503" y="393332"/>
                </a:cubicBezTo>
                <a:cubicBezTo>
                  <a:pt x="784818" y="485723"/>
                  <a:pt x="684028" y="538329"/>
                  <a:pt x="620370" y="545181"/>
                </a:cubicBezTo>
                <a:cubicBezTo>
                  <a:pt x="622359" y="578778"/>
                  <a:pt x="641590" y="604417"/>
                  <a:pt x="678060" y="618121"/>
                </a:cubicBezTo>
                <a:cubicBezTo>
                  <a:pt x="682701" y="633815"/>
                  <a:pt x="681375" y="643540"/>
                  <a:pt x="668113" y="645308"/>
                </a:cubicBezTo>
                <a:cubicBezTo>
                  <a:pt x="627223" y="645529"/>
                  <a:pt x="598931" y="634478"/>
                  <a:pt x="573291" y="620110"/>
                </a:cubicBezTo>
                <a:cubicBezTo>
                  <a:pt x="544336" y="596903"/>
                  <a:pt x="530631" y="578336"/>
                  <a:pt x="518917" y="552475"/>
                </a:cubicBezTo>
                <a:cubicBezTo>
                  <a:pt x="454818" y="536782"/>
                  <a:pt x="365521" y="498543"/>
                  <a:pt x="350490" y="390017"/>
                </a:cubicBezTo>
                <a:cubicBezTo>
                  <a:pt x="350490" y="269554"/>
                  <a:pt x="479131" y="226011"/>
                  <a:pt x="563344" y="225569"/>
                </a:cubicBezTo>
                <a:close/>
                <a:moveTo>
                  <a:pt x="335114" y="183"/>
                </a:moveTo>
                <a:cubicBezTo>
                  <a:pt x="454687" y="3722"/>
                  <a:pt x="541767" y="58408"/>
                  <a:pt x="592802" y="134925"/>
                </a:cubicBezTo>
                <a:cubicBezTo>
                  <a:pt x="628489" y="174397"/>
                  <a:pt x="577309" y="199942"/>
                  <a:pt x="561938" y="166472"/>
                </a:cubicBezTo>
                <a:cubicBezTo>
                  <a:pt x="481114" y="47390"/>
                  <a:pt x="375092" y="46338"/>
                  <a:pt x="302888" y="43960"/>
                </a:cubicBezTo>
                <a:cubicBezTo>
                  <a:pt x="181234" y="50150"/>
                  <a:pt x="64221" y="109386"/>
                  <a:pt x="49987" y="234270"/>
                </a:cubicBezTo>
                <a:cubicBezTo>
                  <a:pt x="40939" y="309580"/>
                  <a:pt x="88253" y="391523"/>
                  <a:pt x="211823" y="436333"/>
                </a:cubicBezTo>
                <a:cubicBezTo>
                  <a:pt x="250504" y="452046"/>
                  <a:pt x="281890" y="454497"/>
                  <a:pt x="317918" y="455622"/>
                </a:cubicBezTo>
                <a:cubicBezTo>
                  <a:pt x="335206" y="498898"/>
                  <a:pt x="318676" y="543500"/>
                  <a:pt x="292198" y="587438"/>
                </a:cubicBezTo>
                <a:cubicBezTo>
                  <a:pt x="318682" y="573633"/>
                  <a:pt x="336545" y="559829"/>
                  <a:pt x="359051" y="545361"/>
                </a:cubicBezTo>
                <a:cubicBezTo>
                  <a:pt x="373558" y="509541"/>
                  <a:pt x="415916" y="544671"/>
                  <a:pt x="391301" y="565877"/>
                </a:cubicBezTo>
                <a:cubicBezTo>
                  <a:pt x="366726" y="592347"/>
                  <a:pt x="340163" y="615502"/>
                  <a:pt x="297021" y="630037"/>
                </a:cubicBezTo>
                <a:cubicBezTo>
                  <a:pt x="261696" y="642012"/>
                  <a:pt x="233002" y="642716"/>
                  <a:pt x="202982" y="642093"/>
                </a:cubicBezTo>
                <a:cubicBezTo>
                  <a:pt x="205634" y="633118"/>
                  <a:pt x="169827" y="610218"/>
                  <a:pt x="209612" y="601243"/>
                </a:cubicBezTo>
                <a:cubicBezTo>
                  <a:pt x="228635" y="591008"/>
                  <a:pt x="241689" y="582100"/>
                  <a:pt x="260048" y="555288"/>
                </a:cubicBezTo>
                <a:cubicBezTo>
                  <a:pt x="270711" y="537974"/>
                  <a:pt x="278722" y="518670"/>
                  <a:pt x="276786" y="494725"/>
                </a:cubicBezTo>
                <a:cubicBezTo>
                  <a:pt x="226586" y="496407"/>
                  <a:pt x="114053" y="458965"/>
                  <a:pt x="55895" y="400968"/>
                </a:cubicBezTo>
                <a:cubicBezTo>
                  <a:pt x="8501" y="347712"/>
                  <a:pt x="-4413" y="292467"/>
                  <a:pt x="1240" y="219319"/>
                </a:cubicBezTo>
                <a:cubicBezTo>
                  <a:pt x="29143" y="83184"/>
                  <a:pt x="146565" y="12695"/>
                  <a:pt x="281890" y="1885"/>
                </a:cubicBezTo>
                <a:cubicBezTo>
                  <a:pt x="300288" y="217"/>
                  <a:pt x="318033" y="-322"/>
                  <a:pt x="335114" y="18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600" b="0" dirty="0" smtClean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600" b="0" dirty="0" smtClean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600" b="0" dirty="0" smtClean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600" b="0" dirty="0" smtClean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600" b="0" dirty="0" smtClean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600" b="0" dirty="0" smtClean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600" b="0" dirty="0" smtClean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600" b="0" dirty="0" smtClean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600" b="0" dirty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grpSp>
        <p:nvGrpSpPr>
          <p:cNvPr id="12" name="Grafik 38">
            <a:extLst>
              <a:ext uri="{FF2B5EF4-FFF2-40B4-BE49-F238E27FC236}">
                <a16:creationId xmlns:a16="http://schemas.microsoft.com/office/drawing/2014/main" id="{B44B0253-3BA7-4CF6-8C17-577F8AA4C46D}"/>
              </a:ext>
            </a:extLst>
          </p:cNvPr>
          <p:cNvGrpSpPr/>
          <p:nvPr userDrawn="1"/>
        </p:nvGrpSpPr>
        <p:grpSpPr>
          <a:xfrm>
            <a:off x="11426227" y="332656"/>
            <a:ext cx="432000" cy="432000"/>
            <a:chOff x="11426227" y="332656"/>
            <a:chExt cx="432000" cy="432000"/>
          </a:xfrm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ACB21A82-4260-449E-83DC-179201242157}"/>
                </a:ext>
              </a:extLst>
            </p:cNvPr>
            <p:cNvSpPr/>
            <p:nvPr/>
          </p:nvSpPr>
          <p:spPr>
            <a:xfrm>
              <a:off x="11426227" y="332656"/>
              <a:ext cx="432000" cy="432000"/>
            </a:xfrm>
            <a:custGeom>
              <a:avLst/>
              <a:gdLst>
                <a:gd name="connsiteX0" fmla="*/ 91325 w 432000"/>
                <a:gd name="connsiteY0" fmla="*/ 0 h 432000"/>
                <a:gd name="connsiteX1" fmla="*/ 0 w 432000"/>
                <a:gd name="connsiteY1" fmla="*/ 91325 h 432000"/>
                <a:gd name="connsiteX2" fmla="*/ 0 w 432000"/>
                <a:gd name="connsiteY2" fmla="*/ 340675 h 432000"/>
                <a:gd name="connsiteX3" fmla="*/ 91325 w 432000"/>
                <a:gd name="connsiteY3" fmla="*/ 432000 h 432000"/>
                <a:gd name="connsiteX4" fmla="*/ 340675 w 432000"/>
                <a:gd name="connsiteY4" fmla="*/ 432000 h 432000"/>
                <a:gd name="connsiteX5" fmla="*/ 432000 w 432000"/>
                <a:gd name="connsiteY5" fmla="*/ 340675 h 432000"/>
                <a:gd name="connsiteX6" fmla="*/ 432000 w 432000"/>
                <a:gd name="connsiteY6" fmla="*/ 91325 h 432000"/>
                <a:gd name="connsiteX7" fmla="*/ 340675 w 432000"/>
                <a:gd name="connsiteY7" fmla="*/ 0 h 432000"/>
                <a:gd name="connsiteX8" fmla="*/ 91325 w 432000"/>
                <a:gd name="connsiteY8" fmla="*/ 0 h 43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2000" h="432000">
                  <a:moveTo>
                    <a:pt x="91325" y="0"/>
                  </a:moveTo>
                  <a:cubicBezTo>
                    <a:pt x="40867" y="0"/>
                    <a:pt x="0" y="40867"/>
                    <a:pt x="0" y="91325"/>
                  </a:cubicBezTo>
                  <a:lnTo>
                    <a:pt x="0" y="340675"/>
                  </a:lnTo>
                  <a:cubicBezTo>
                    <a:pt x="0" y="391090"/>
                    <a:pt x="40867" y="432000"/>
                    <a:pt x="91325" y="432000"/>
                  </a:cubicBezTo>
                  <a:lnTo>
                    <a:pt x="340675" y="432000"/>
                  </a:lnTo>
                  <a:cubicBezTo>
                    <a:pt x="391090" y="432000"/>
                    <a:pt x="432000" y="391133"/>
                    <a:pt x="432000" y="340675"/>
                  </a:cubicBezTo>
                  <a:lnTo>
                    <a:pt x="432000" y="91325"/>
                  </a:lnTo>
                  <a:cubicBezTo>
                    <a:pt x="432000" y="40867"/>
                    <a:pt x="391133" y="0"/>
                    <a:pt x="340675" y="0"/>
                  </a:cubicBezTo>
                  <a:lnTo>
                    <a:pt x="91325" y="0"/>
                  </a:lnTo>
                  <a:close/>
                </a:path>
              </a:pathLst>
            </a:custGeom>
            <a:solidFill>
              <a:srgbClr val="FF0000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506B32F6-C8F1-48B8-9BDB-F3EBC3BC9349}"/>
                </a:ext>
              </a:extLst>
            </p:cNvPr>
            <p:cNvSpPr/>
            <p:nvPr/>
          </p:nvSpPr>
          <p:spPr>
            <a:xfrm>
              <a:off x="11726078" y="448000"/>
              <a:ext cx="67219" cy="67219"/>
            </a:xfrm>
            <a:custGeom>
              <a:avLst/>
              <a:gdLst>
                <a:gd name="connsiteX0" fmla="*/ 33610 w 67219"/>
                <a:gd name="connsiteY0" fmla="*/ 67219 h 67219"/>
                <a:gd name="connsiteX1" fmla="*/ 67219 w 67219"/>
                <a:gd name="connsiteY1" fmla="*/ 33610 h 67219"/>
                <a:gd name="connsiteX2" fmla="*/ 33610 w 67219"/>
                <a:gd name="connsiteY2" fmla="*/ 0 h 67219"/>
                <a:gd name="connsiteX3" fmla="*/ 0 w 67219"/>
                <a:gd name="connsiteY3" fmla="*/ 33610 h 67219"/>
                <a:gd name="connsiteX4" fmla="*/ 33610 w 67219"/>
                <a:gd name="connsiteY4" fmla="*/ 67219 h 67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219" h="67219">
                  <a:moveTo>
                    <a:pt x="33610" y="67219"/>
                  </a:moveTo>
                  <a:cubicBezTo>
                    <a:pt x="52186" y="67219"/>
                    <a:pt x="67219" y="52186"/>
                    <a:pt x="67219" y="33610"/>
                  </a:cubicBezTo>
                  <a:cubicBezTo>
                    <a:pt x="67219" y="15034"/>
                    <a:pt x="52186" y="0"/>
                    <a:pt x="33610" y="0"/>
                  </a:cubicBezTo>
                  <a:cubicBezTo>
                    <a:pt x="15034" y="0"/>
                    <a:pt x="0" y="15034"/>
                    <a:pt x="0" y="33610"/>
                  </a:cubicBezTo>
                  <a:cubicBezTo>
                    <a:pt x="0" y="52186"/>
                    <a:pt x="15034" y="67219"/>
                    <a:pt x="33610" y="67219"/>
                  </a:cubicBezTo>
                </a:path>
              </a:pathLst>
            </a:custGeom>
            <a:solidFill>
              <a:srgbClr val="FFFFFF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21C667CE-7271-4CA7-BC0B-6F598646A212}"/>
                </a:ext>
              </a:extLst>
            </p:cNvPr>
            <p:cNvSpPr/>
            <p:nvPr/>
          </p:nvSpPr>
          <p:spPr>
            <a:xfrm>
              <a:off x="11586585" y="448000"/>
              <a:ext cx="199843" cy="316656"/>
            </a:xfrm>
            <a:custGeom>
              <a:avLst/>
              <a:gdLst>
                <a:gd name="connsiteX0" fmla="*/ 121781 w 199843"/>
                <a:gd name="connsiteY0" fmla="*/ 2074 h 316656"/>
                <a:gd name="connsiteX1" fmla="*/ 91282 w 199843"/>
                <a:gd name="connsiteY1" fmla="*/ 0 h 316656"/>
                <a:gd name="connsiteX2" fmla="*/ 22205 w 199843"/>
                <a:gd name="connsiteY2" fmla="*/ 67565 h 316656"/>
                <a:gd name="connsiteX3" fmla="*/ 22205 w 199843"/>
                <a:gd name="connsiteY3" fmla="*/ 100397 h 316656"/>
                <a:gd name="connsiteX4" fmla="*/ 0 w 199843"/>
                <a:gd name="connsiteY4" fmla="*/ 100397 h 316656"/>
                <a:gd name="connsiteX5" fmla="*/ 0 w 199843"/>
                <a:gd name="connsiteY5" fmla="*/ 144374 h 316656"/>
                <a:gd name="connsiteX6" fmla="*/ 22118 w 199843"/>
                <a:gd name="connsiteY6" fmla="*/ 144374 h 316656"/>
                <a:gd name="connsiteX7" fmla="*/ 22118 w 199843"/>
                <a:gd name="connsiteY7" fmla="*/ 316656 h 316656"/>
                <a:gd name="connsiteX8" fmla="*/ 78192 w 199843"/>
                <a:gd name="connsiteY8" fmla="*/ 316656 h 316656"/>
                <a:gd name="connsiteX9" fmla="*/ 78192 w 199843"/>
                <a:gd name="connsiteY9" fmla="*/ 144331 h 316656"/>
                <a:gd name="connsiteX10" fmla="*/ 144418 w 199843"/>
                <a:gd name="connsiteY10" fmla="*/ 144331 h 316656"/>
                <a:gd name="connsiteX11" fmla="*/ 144418 w 199843"/>
                <a:gd name="connsiteY11" fmla="*/ 316656 h 316656"/>
                <a:gd name="connsiteX12" fmla="*/ 199843 w 199843"/>
                <a:gd name="connsiteY12" fmla="*/ 316656 h 316656"/>
                <a:gd name="connsiteX13" fmla="*/ 199843 w 199843"/>
                <a:gd name="connsiteY13" fmla="*/ 100397 h 316656"/>
                <a:gd name="connsiteX14" fmla="*/ 77890 w 199843"/>
                <a:gd name="connsiteY14" fmla="*/ 100397 h 316656"/>
                <a:gd name="connsiteX15" fmla="*/ 77890 w 199843"/>
                <a:gd name="connsiteY15" fmla="*/ 74520 h 316656"/>
                <a:gd name="connsiteX16" fmla="*/ 106790 w 199843"/>
                <a:gd name="connsiteY16" fmla="*/ 42768 h 316656"/>
                <a:gd name="connsiteX17" fmla="*/ 121824 w 199843"/>
                <a:gd name="connsiteY17" fmla="*/ 43762 h 316656"/>
                <a:gd name="connsiteX18" fmla="*/ 121781 w 199843"/>
                <a:gd name="connsiteY18" fmla="*/ 2074 h 316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9843" h="316656">
                  <a:moveTo>
                    <a:pt x="121781" y="2074"/>
                  </a:moveTo>
                  <a:cubicBezTo>
                    <a:pt x="112709" y="864"/>
                    <a:pt x="103118" y="0"/>
                    <a:pt x="91282" y="0"/>
                  </a:cubicBezTo>
                  <a:cubicBezTo>
                    <a:pt x="49378" y="0"/>
                    <a:pt x="22205" y="21989"/>
                    <a:pt x="22205" y="67565"/>
                  </a:cubicBezTo>
                  <a:lnTo>
                    <a:pt x="22205" y="100397"/>
                  </a:lnTo>
                  <a:lnTo>
                    <a:pt x="0" y="100397"/>
                  </a:lnTo>
                  <a:lnTo>
                    <a:pt x="0" y="144374"/>
                  </a:lnTo>
                  <a:lnTo>
                    <a:pt x="22118" y="144374"/>
                  </a:lnTo>
                  <a:lnTo>
                    <a:pt x="22118" y="316656"/>
                  </a:lnTo>
                  <a:lnTo>
                    <a:pt x="78192" y="316656"/>
                  </a:lnTo>
                  <a:lnTo>
                    <a:pt x="78192" y="144331"/>
                  </a:lnTo>
                  <a:lnTo>
                    <a:pt x="144418" y="144331"/>
                  </a:lnTo>
                  <a:lnTo>
                    <a:pt x="144418" y="316656"/>
                  </a:lnTo>
                  <a:lnTo>
                    <a:pt x="199843" y="316656"/>
                  </a:lnTo>
                  <a:lnTo>
                    <a:pt x="199843" y="100397"/>
                  </a:lnTo>
                  <a:lnTo>
                    <a:pt x="77890" y="100397"/>
                  </a:lnTo>
                  <a:lnTo>
                    <a:pt x="77890" y="74520"/>
                  </a:lnTo>
                  <a:cubicBezTo>
                    <a:pt x="77890" y="50933"/>
                    <a:pt x="87653" y="42768"/>
                    <a:pt x="106790" y="42768"/>
                  </a:cubicBezTo>
                  <a:cubicBezTo>
                    <a:pt x="112147" y="42768"/>
                    <a:pt x="116726" y="43157"/>
                    <a:pt x="121824" y="43762"/>
                  </a:cubicBezTo>
                  <a:lnTo>
                    <a:pt x="121781" y="2074"/>
                  </a:lnTo>
                  <a:close/>
                </a:path>
              </a:pathLst>
            </a:custGeom>
            <a:solidFill>
              <a:srgbClr val="FFFFFF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18925460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nta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C7E1CBAC-5B45-48EC-906C-7E903A0C2F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9576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0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C7E1CBAC-5B45-48EC-906C-7E903A0C2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D6D2E36-6604-475A-B92B-642B0CEFE1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-1" y="3069000"/>
            <a:ext cx="11858626" cy="2880000"/>
          </a:xfrm>
          <a:solidFill>
            <a:schemeClr val="bg2"/>
          </a:solidFill>
        </p:spPr>
        <p:txBody>
          <a:bodyPr vert="horz" lIns="842400" tIns="360000" rIns="360000" bIns="144000" rtlCol="0">
            <a:noAutofit/>
          </a:bodyPr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lang="de-DE" b="1" dirty="0" smtClean="0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Vorname und Nachname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E0789BD5-7065-4BD6-950D-D27DDFC53B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947" y="333000"/>
            <a:ext cx="8568640" cy="935760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Titelformat durch Klicken bearbeit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FD25318-6672-4CC5-986C-0C31F0C8640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6550" y="6021288"/>
            <a:ext cx="9360000" cy="14400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/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8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8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8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8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8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800"/>
            </a:lvl9pPr>
          </a:lstStyle>
          <a:p>
            <a:pPr lvl="4"/>
            <a:r>
              <a:rPr lang="de-DE" dirty="0"/>
              <a:t>Quellenanga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1C67E1-FBCD-48BC-AA33-C8701598E14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C25011A6-BC55-482B-BC4D-E56E1608B0EA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5D2A09-0A26-4DAE-84B9-05BF28E2772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Textplatzhalter 13">
            <a:extLst>
              <a:ext uri="{FF2B5EF4-FFF2-40B4-BE49-F238E27FC236}">
                <a16:creationId xmlns:a16="http://schemas.microsoft.com/office/drawing/2014/main" id="{91465E4E-CC57-4B21-B6E8-157F4AC9D22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41587" y="3861000"/>
            <a:ext cx="5040000" cy="432000"/>
          </a:xfrm>
          <a:noFill/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Position | Abteilung</a:t>
            </a:r>
          </a:p>
        </p:txBody>
      </p:sp>
      <p:sp>
        <p:nvSpPr>
          <p:cNvPr id="21" name="Textplatzhalter 13">
            <a:extLst>
              <a:ext uri="{FF2B5EF4-FFF2-40B4-BE49-F238E27FC236}">
                <a16:creationId xmlns:a16="http://schemas.microsoft.com/office/drawing/2014/main" id="{F3E4A2F9-D08C-42D7-ABFC-0B32223742B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41587" y="4293000"/>
            <a:ext cx="5040000" cy="1656950"/>
          </a:xfrm>
          <a:noFill/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3pPr>
            <a:lvl4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4pPr>
            <a:lvl5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5pPr>
            <a:lvl6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6pPr>
            <a:lvl7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7pPr>
            <a:lvl8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8pPr>
            <a:lvl9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Kontaktinformationen</a:t>
            </a:r>
          </a:p>
        </p:txBody>
      </p:sp>
      <p:sp>
        <p:nvSpPr>
          <p:cNvPr id="15" name="Textplatzhalter 13">
            <a:extLst>
              <a:ext uri="{FF2B5EF4-FFF2-40B4-BE49-F238E27FC236}">
                <a16:creationId xmlns:a16="http://schemas.microsoft.com/office/drawing/2014/main" id="{27F3B73F-9045-4AD2-B640-3577B78A172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7587" y="3429000"/>
            <a:ext cx="5760000" cy="432000"/>
          </a:xfrm>
          <a:solidFill>
            <a:schemeClr val="bg2"/>
          </a:solidFill>
        </p:spPr>
        <p:txBody>
          <a:bodyPr vert="horz" lIns="0" tIns="0" rIns="0" bIns="0" rtlCol="0">
            <a:noAutofit/>
          </a:bodyPr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lang="de-DE" b="1" dirty="0" smtClean="0">
                <a:solidFill>
                  <a:schemeClr val="tx2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 smtClean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2000" b="1" dirty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Vorname und Nachname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31839DC7-E863-46E3-9033-65CA0EADB9D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097587" y="3861000"/>
            <a:ext cx="5760000" cy="432000"/>
          </a:xfrm>
          <a:noFill/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 smtClean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lang="de-DE" sz="1800" b="0" dirty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Position | Abteilung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E6918DB0-956C-4285-AE2E-FB4D5DA6163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097587" y="4293000"/>
            <a:ext cx="5760000" cy="1656950"/>
          </a:xfrm>
          <a:noFill/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3pPr>
            <a:lvl4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4pPr>
            <a:lvl5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5pPr>
            <a:lvl6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6pPr>
            <a:lvl7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7pPr>
            <a:lvl8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 smtClean="0">
                <a:solidFill>
                  <a:schemeClr val="tx2"/>
                </a:solidFill>
              </a:defRPr>
            </a:lvl8pPr>
            <a:lvl9pPr marL="0" indent="0">
              <a:spcBef>
                <a:spcPts val="600"/>
              </a:spcBef>
              <a:spcAft>
                <a:spcPts val="0"/>
              </a:spcAft>
              <a:buFontTx/>
              <a:buNone/>
              <a:tabLst>
                <a:tab pos="1224000" algn="l"/>
              </a:tabLst>
              <a:defRPr lang="de-DE" sz="1600" b="0" dirty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Kontaktinformationen</a:t>
            </a:r>
          </a:p>
        </p:txBody>
      </p:sp>
      <p:grpSp>
        <p:nvGrpSpPr>
          <p:cNvPr id="22" name="Grafik 38">
            <a:extLst>
              <a:ext uri="{FF2B5EF4-FFF2-40B4-BE49-F238E27FC236}">
                <a16:creationId xmlns:a16="http://schemas.microsoft.com/office/drawing/2014/main" id="{7427A90C-DF9E-46C7-B739-314BF62308D0}"/>
              </a:ext>
            </a:extLst>
          </p:cNvPr>
          <p:cNvGrpSpPr/>
          <p:nvPr userDrawn="1"/>
        </p:nvGrpSpPr>
        <p:grpSpPr>
          <a:xfrm>
            <a:off x="11426227" y="332656"/>
            <a:ext cx="432000" cy="432000"/>
            <a:chOff x="11426227" y="332656"/>
            <a:chExt cx="432000" cy="432000"/>
          </a:xfrm>
        </p:grpSpPr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DEACD3DA-1676-458F-B415-E45301C5287A}"/>
                </a:ext>
              </a:extLst>
            </p:cNvPr>
            <p:cNvSpPr/>
            <p:nvPr/>
          </p:nvSpPr>
          <p:spPr>
            <a:xfrm>
              <a:off x="11426227" y="332656"/>
              <a:ext cx="432000" cy="432000"/>
            </a:xfrm>
            <a:custGeom>
              <a:avLst/>
              <a:gdLst>
                <a:gd name="connsiteX0" fmla="*/ 91325 w 432000"/>
                <a:gd name="connsiteY0" fmla="*/ 0 h 432000"/>
                <a:gd name="connsiteX1" fmla="*/ 0 w 432000"/>
                <a:gd name="connsiteY1" fmla="*/ 91325 h 432000"/>
                <a:gd name="connsiteX2" fmla="*/ 0 w 432000"/>
                <a:gd name="connsiteY2" fmla="*/ 340675 h 432000"/>
                <a:gd name="connsiteX3" fmla="*/ 91325 w 432000"/>
                <a:gd name="connsiteY3" fmla="*/ 432000 h 432000"/>
                <a:gd name="connsiteX4" fmla="*/ 340675 w 432000"/>
                <a:gd name="connsiteY4" fmla="*/ 432000 h 432000"/>
                <a:gd name="connsiteX5" fmla="*/ 432000 w 432000"/>
                <a:gd name="connsiteY5" fmla="*/ 340675 h 432000"/>
                <a:gd name="connsiteX6" fmla="*/ 432000 w 432000"/>
                <a:gd name="connsiteY6" fmla="*/ 91325 h 432000"/>
                <a:gd name="connsiteX7" fmla="*/ 340675 w 432000"/>
                <a:gd name="connsiteY7" fmla="*/ 0 h 432000"/>
                <a:gd name="connsiteX8" fmla="*/ 91325 w 432000"/>
                <a:gd name="connsiteY8" fmla="*/ 0 h 43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2000" h="432000">
                  <a:moveTo>
                    <a:pt x="91325" y="0"/>
                  </a:moveTo>
                  <a:cubicBezTo>
                    <a:pt x="40867" y="0"/>
                    <a:pt x="0" y="40867"/>
                    <a:pt x="0" y="91325"/>
                  </a:cubicBezTo>
                  <a:lnTo>
                    <a:pt x="0" y="340675"/>
                  </a:lnTo>
                  <a:cubicBezTo>
                    <a:pt x="0" y="391090"/>
                    <a:pt x="40867" y="432000"/>
                    <a:pt x="91325" y="432000"/>
                  </a:cubicBezTo>
                  <a:lnTo>
                    <a:pt x="340675" y="432000"/>
                  </a:lnTo>
                  <a:cubicBezTo>
                    <a:pt x="391090" y="432000"/>
                    <a:pt x="432000" y="391133"/>
                    <a:pt x="432000" y="340675"/>
                  </a:cubicBezTo>
                  <a:lnTo>
                    <a:pt x="432000" y="91325"/>
                  </a:lnTo>
                  <a:cubicBezTo>
                    <a:pt x="432000" y="40867"/>
                    <a:pt x="391133" y="0"/>
                    <a:pt x="340675" y="0"/>
                  </a:cubicBezTo>
                  <a:lnTo>
                    <a:pt x="91325" y="0"/>
                  </a:lnTo>
                  <a:close/>
                </a:path>
              </a:pathLst>
            </a:custGeom>
            <a:solidFill>
              <a:srgbClr val="FF0000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E78A1727-2C4C-42C2-89E6-D26ED181D083}"/>
                </a:ext>
              </a:extLst>
            </p:cNvPr>
            <p:cNvSpPr/>
            <p:nvPr/>
          </p:nvSpPr>
          <p:spPr>
            <a:xfrm>
              <a:off x="11726078" y="448000"/>
              <a:ext cx="67219" cy="67219"/>
            </a:xfrm>
            <a:custGeom>
              <a:avLst/>
              <a:gdLst>
                <a:gd name="connsiteX0" fmla="*/ 33610 w 67219"/>
                <a:gd name="connsiteY0" fmla="*/ 67219 h 67219"/>
                <a:gd name="connsiteX1" fmla="*/ 67219 w 67219"/>
                <a:gd name="connsiteY1" fmla="*/ 33610 h 67219"/>
                <a:gd name="connsiteX2" fmla="*/ 33610 w 67219"/>
                <a:gd name="connsiteY2" fmla="*/ 0 h 67219"/>
                <a:gd name="connsiteX3" fmla="*/ 0 w 67219"/>
                <a:gd name="connsiteY3" fmla="*/ 33610 h 67219"/>
                <a:gd name="connsiteX4" fmla="*/ 33610 w 67219"/>
                <a:gd name="connsiteY4" fmla="*/ 67219 h 67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219" h="67219">
                  <a:moveTo>
                    <a:pt x="33610" y="67219"/>
                  </a:moveTo>
                  <a:cubicBezTo>
                    <a:pt x="52186" y="67219"/>
                    <a:pt x="67219" y="52186"/>
                    <a:pt x="67219" y="33610"/>
                  </a:cubicBezTo>
                  <a:cubicBezTo>
                    <a:pt x="67219" y="15034"/>
                    <a:pt x="52186" y="0"/>
                    <a:pt x="33610" y="0"/>
                  </a:cubicBezTo>
                  <a:cubicBezTo>
                    <a:pt x="15034" y="0"/>
                    <a:pt x="0" y="15034"/>
                    <a:pt x="0" y="33610"/>
                  </a:cubicBezTo>
                  <a:cubicBezTo>
                    <a:pt x="0" y="52186"/>
                    <a:pt x="15034" y="67219"/>
                    <a:pt x="33610" y="67219"/>
                  </a:cubicBezTo>
                </a:path>
              </a:pathLst>
            </a:custGeom>
            <a:solidFill>
              <a:srgbClr val="FFFFFF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F7F9A685-2087-4E2C-A14D-284356C5559B}"/>
                </a:ext>
              </a:extLst>
            </p:cNvPr>
            <p:cNvSpPr/>
            <p:nvPr/>
          </p:nvSpPr>
          <p:spPr>
            <a:xfrm>
              <a:off x="11586585" y="448000"/>
              <a:ext cx="199843" cy="316656"/>
            </a:xfrm>
            <a:custGeom>
              <a:avLst/>
              <a:gdLst>
                <a:gd name="connsiteX0" fmla="*/ 121781 w 199843"/>
                <a:gd name="connsiteY0" fmla="*/ 2074 h 316656"/>
                <a:gd name="connsiteX1" fmla="*/ 91282 w 199843"/>
                <a:gd name="connsiteY1" fmla="*/ 0 h 316656"/>
                <a:gd name="connsiteX2" fmla="*/ 22205 w 199843"/>
                <a:gd name="connsiteY2" fmla="*/ 67565 h 316656"/>
                <a:gd name="connsiteX3" fmla="*/ 22205 w 199843"/>
                <a:gd name="connsiteY3" fmla="*/ 100397 h 316656"/>
                <a:gd name="connsiteX4" fmla="*/ 0 w 199843"/>
                <a:gd name="connsiteY4" fmla="*/ 100397 h 316656"/>
                <a:gd name="connsiteX5" fmla="*/ 0 w 199843"/>
                <a:gd name="connsiteY5" fmla="*/ 144374 h 316656"/>
                <a:gd name="connsiteX6" fmla="*/ 22118 w 199843"/>
                <a:gd name="connsiteY6" fmla="*/ 144374 h 316656"/>
                <a:gd name="connsiteX7" fmla="*/ 22118 w 199843"/>
                <a:gd name="connsiteY7" fmla="*/ 316656 h 316656"/>
                <a:gd name="connsiteX8" fmla="*/ 78192 w 199843"/>
                <a:gd name="connsiteY8" fmla="*/ 316656 h 316656"/>
                <a:gd name="connsiteX9" fmla="*/ 78192 w 199843"/>
                <a:gd name="connsiteY9" fmla="*/ 144331 h 316656"/>
                <a:gd name="connsiteX10" fmla="*/ 144418 w 199843"/>
                <a:gd name="connsiteY10" fmla="*/ 144331 h 316656"/>
                <a:gd name="connsiteX11" fmla="*/ 144418 w 199843"/>
                <a:gd name="connsiteY11" fmla="*/ 316656 h 316656"/>
                <a:gd name="connsiteX12" fmla="*/ 199843 w 199843"/>
                <a:gd name="connsiteY12" fmla="*/ 316656 h 316656"/>
                <a:gd name="connsiteX13" fmla="*/ 199843 w 199843"/>
                <a:gd name="connsiteY13" fmla="*/ 100397 h 316656"/>
                <a:gd name="connsiteX14" fmla="*/ 77890 w 199843"/>
                <a:gd name="connsiteY14" fmla="*/ 100397 h 316656"/>
                <a:gd name="connsiteX15" fmla="*/ 77890 w 199843"/>
                <a:gd name="connsiteY15" fmla="*/ 74520 h 316656"/>
                <a:gd name="connsiteX16" fmla="*/ 106790 w 199843"/>
                <a:gd name="connsiteY16" fmla="*/ 42768 h 316656"/>
                <a:gd name="connsiteX17" fmla="*/ 121824 w 199843"/>
                <a:gd name="connsiteY17" fmla="*/ 43762 h 316656"/>
                <a:gd name="connsiteX18" fmla="*/ 121781 w 199843"/>
                <a:gd name="connsiteY18" fmla="*/ 2074 h 316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9843" h="316656">
                  <a:moveTo>
                    <a:pt x="121781" y="2074"/>
                  </a:moveTo>
                  <a:cubicBezTo>
                    <a:pt x="112709" y="864"/>
                    <a:pt x="103118" y="0"/>
                    <a:pt x="91282" y="0"/>
                  </a:cubicBezTo>
                  <a:cubicBezTo>
                    <a:pt x="49378" y="0"/>
                    <a:pt x="22205" y="21989"/>
                    <a:pt x="22205" y="67565"/>
                  </a:cubicBezTo>
                  <a:lnTo>
                    <a:pt x="22205" y="100397"/>
                  </a:lnTo>
                  <a:lnTo>
                    <a:pt x="0" y="100397"/>
                  </a:lnTo>
                  <a:lnTo>
                    <a:pt x="0" y="144374"/>
                  </a:lnTo>
                  <a:lnTo>
                    <a:pt x="22118" y="144374"/>
                  </a:lnTo>
                  <a:lnTo>
                    <a:pt x="22118" y="316656"/>
                  </a:lnTo>
                  <a:lnTo>
                    <a:pt x="78192" y="316656"/>
                  </a:lnTo>
                  <a:lnTo>
                    <a:pt x="78192" y="144331"/>
                  </a:lnTo>
                  <a:lnTo>
                    <a:pt x="144418" y="144331"/>
                  </a:lnTo>
                  <a:lnTo>
                    <a:pt x="144418" y="316656"/>
                  </a:lnTo>
                  <a:lnTo>
                    <a:pt x="199843" y="316656"/>
                  </a:lnTo>
                  <a:lnTo>
                    <a:pt x="199843" y="100397"/>
                  </a:lnTo>
                  <a:lnTo>
                    <a:pt x="77890" y="100397"/>
                  </a:lnTo>
                  <a:lnTo>
                    <a:pt x="77890" y="74520"/>
                  </a:lnTo>
                  <a:cubicBezTo>
                    <a:pt x="77890" y="50933"/>
                    <a:pt x="87653" y="42768"/>
                    <a:pt x="106790" y="42768"/>
                  </a:cubicBezTo>
                  <a:cubicBezTo>
                    <a:pt x="112147" y="42768"/>
                    <a:pt x="116726" y="43157"/>
                    <a:pt x="121824" y="43762"/>
                  </a:cubicBezTo>
                  <a:lnTo>
                    <a:pt x="121781" y="2074"/>
                  </a:lnTo>
                  <a:close/>
                </a:path>
              </a:pathLst>
            </a:custGeom>
            <a:solidFill>
              <a:srgbClr val="FFFFFF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684144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technisches Um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6CD355B-1BFE-459B-B4A7-CBEE6B68F3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431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6CD355B-1BFE-459B-B4A7-CBEE6B68F3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>
            <a:extLst>
              <a:ext uri="{FF2B5EF4-FFF2-40B4-BE49-F238E27FC236}">
                <a16:creationId xmlns:a16="http://schemas.microsoft.com/office/drawing/2014/main" id="{38EF8207-B62D-454F-B954-E819D63697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9458" r="3672" b="1989"/>
          <a:stretch/>
        </p:blipFill>
        <p:spPr>
          <a:xfrm>
            <a:off x="0" y="0"/>
            <a:ext cx="7897787" cy="5949280"/>
          </a:xfrm>
          <a:prstGeom prst="rect">
            <a:avLst/>
          </a:prstGeom>
        </p:spPr>
      </p:pic>
      <p:sp>
        <p:nvSpPr>
          <p:cNvPr id="32" name="Rechteck 31">
            <a:extLst>
              <a:ext uri="{FF2B5EF4-FFF2-40B4-BE49-F238E27FC236}">
                <a16:creationId xmlns:a16="http://schemas.microsoft.com/office/drawing/2014/main" id="{C1198686-DE28-4051-A303-732B2DF3AF69}"/>
              </a:ext>
            </a:extLst>
          </p:cNvPr>
          <p:cNvSpPr/>
          <p:nvPr userDrawn="1"/>
        </p:nvSpPr>
        <p:spPr bwMode="gray">
          <a:xfrm>
            <a:off x="7897787" y="0"/>
            <a:ext cx="4297388" cy="5949950"/>
          </a:xfrm>
          <a:prstGeom prst="rect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46F336C9-F463-438D-BAA9-02F6BB337E00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266238" y="6165304"/>
            <a:ext cx="2591989" cy="418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</p:pic>
      <p:sp>
        <p:nvSpPr>
          <p:cNvPr id="12" name="TextBox 1">
            <a:extLst>
              <a:ext uri="{FF2B5EF4-FFF2-40B4-BE49-F238E27FC236}">
                <a16:creationId xmlns:a16="http://schemas.microsoft.com/office/drawing/2014/main" id="{56B0B1F3-5278-45D0-8C72-A129AC0C2F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gray">
          <a:xfrm>
            <a:off x="336947" y="6475935"/>
            <a:ext cx="2356625" cy="3868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sz="950" b="0" i="0" u="none" strike="noStrike" kern="1200" cap="none" spc="0" normalizeH="0" baseline="0" noProof="0" dirty="0">
                <a:ln>
                  <a:noFill/>
                </a:ln>
                <a:solidFill>
                  <a:srgbClr val="444B5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parkassen-Finanzgruppe</a:t>
            </a:r>
          </a:p>
        </p:txBody>
      </p:sp>
      <p:sp>
        <p:nvSpPr>
          <p:cNvPr id="38" name="Titel 37">
            <a:extLst>
              <a:ext uri="{FF2B5EF4-FFF2-40B4-BE49-F238E27FC236}">
                <a16:creationId xmlns:a16="http://schemas.microsoft.com/office/drawing/2014/main" id="{83E8E926-86FA-4FD1-AE0B-EF24CE1508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3611" y="1628800"/>
            <a:ext cx="5881564" cy="2736304"/>
          </a:xfrm>
          <a:solidFill>
            <a:schemeClr val="tx2"/>
          </a:solidFill>
          <a:ln>
            <a:noFill/>
          </a:ln>
        </p:spPr>
        <p:txBody>
          <a:bodyPr vert="horz" lIns="360000" tIns="216000" rIns="216000" bIns="216000" anchor="t"/>
          <a:lstStyle>
            <a:lvl1pPr>
              <a:defRPr sz="4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Titel der</a:t>
            </a:r>
            <a:br>
              <a:rPr lang="de-DE" dirty="0"/>
            </a:br>
            <a:r>
              <a:rPr lang="de-DE" dirty="0"/>
              <a:t>Prä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313611" y="3140968"/>
            <a:ext cx="5881564" cy="1224000"/>
          </a:xfrm>
          <a:prstGeom prst="rect">
            <a:avLst/>
          </a:prstGeom>
          <a:noFill/>
          <a:ln>
            <a:noFill/>
          </a:ln>
        </p:spPr>
        <p:txBody>
          <a:bodyPr wrap="square" lIns="360000" tIns="144000" rIns="360000" bIns="144000" rtlCol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9pPr>
          </a:lstStyle>
          <a:p>
            <a:pPr lvl="0"/>
            <a:r>
              <a:rPr lang="de-DE" dirty="0"/>
              <a:t>Untertitel der Präsentation</a:t>
            </a:r>
          </a:p>
        </p:txBody>
      </p:sp>
      <p:grpSp>
        <p:nvGrpSpPr>
          <p:cNvPr id="10" name="Grafik 17">
            <a:extLst>
              <a:ext uri="{FF2B5EF4-FFF2-40B4-BE49-F238E27FC236}">
                <a16:creationId xmlns:a16="http://schemas.microsoft.com/office/drawing/2014/main" id="{EC6E9348-E77E-4B40-9737-38C20D141921}"/>
              </a:ext>
            </a:extLst>
          </p:cNvPr>
          <p:cNvGrpSpPr/>
          <p:nvPr userDrawn="1"/>
        </p:nvGrpSpPr>
        <p:grpSpPr>
          <a:xfrm>
            <a:off x="11426227" y="332656"/>
            <a:ext cx="431956" cy="432000"/>
            <a:chOff x="11426227" y="332656"/>
            <a:chExt cx="431956" cy="432000"/>
          </a:xfrm>
          <a:solidFill>
            <a:srgbClr val="FFFFFF"/>
          </a:solidFill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03418E8C-9A25-4D1F-9BB6-C5BA2A2F46CB}"/>
                </a:ext>
              </a:extLst>
            </p:cNvPr>
            <p:cNvSpPr/>
            <p:nvPr/>
          </p:nvSpPr>
          <p:spPr>
            <a:xfrm>
              <a:off x="11664777" y="592331"/>
              <a:ext cx="66225" cy="172281"/>
            </a:xfrm>
            <a:custGeom>
              <a:avLst/>
              <a:gdLst>
                <a:gd name="connsiteX0" fmla="*/ 0 w 66225"/>
                <a:gd name="connsiteY0" fmla="*/ 0 h 172281"/>
                <a:gd name="connsiteX1" fmla="*/ 66226 w 66225"/>
                <a:gd name="connsiteY1" fmla="*/ 0 h 172281"/>
                <a:gd name="connsiteX2" fmla="*/ 66226 w 66225"/>
                <a:gd name="connsiteY2" fmla="*/ 172282 h 172281"/>
                <a:gd name="connsiteX3" fmla="*/ 0 w 66225"/>
                <a:gd name="connsiteY3" fmla="*/ 172282 h 172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5" h="172281">
                  <a:moveTo>
                    <a:pt x="0" y="0"/>
                  </a:moveTo>
                  <a:lnTo>
                    <a:pt x="66226" y="0"/>
                  </a:lnTo>
                  <a:lnTo>
                    <a:pt x="66226" y="172282"/>
                  </a:lnTo>
                  <a:lnTo>
                    <a:pt x="0" y="172282"/>
                  </a:lnTo>
                  <a:close/>
                </a:path>
              </a:pathLst>
            </a:custGeom>
            <a:solidFill>
              <a:srgbClr val="FFFFFF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D97824CB-C579-4989-9FAD-ED155A42C0A3}"/>
                </a:ext>
              </a:extLst>
            </p:cNvPr>
            <p:cNvSpPr/>
            <p:nvPr/>
          </p:nvSpPr>
          <p:spPr>
            <a:xfrm>
              <a:off x="11426227" y="332656"/>
              <a:ext cx="431956" cy="432000"/>
            </a:xfrm>
            <a:custGeom>
              <a:avLst/>
              <a:gdLst>
                <a:gd name="connsiteX0" fmla="*/ 340675 w 431956"/>
                <a:gd name="connsiteY0" fmla="*/ 0 h 432000"/>
                <a:gd name="connsiteX1" fmla="*/ 91325 w 431956"/>
                <a:gd name="connsiteY1" fmla="*/ 0 h 432000"/>
                <a:gd name="connsiteX2" fmla="*/ 0 w 431956"/>
                <a:gd name="connsiteY2" fmla="*/ 91325 h 432000"/>
                <a:gd name="connsiteX3" fmla="*/ 0 w 431956"/>
                <a:gd name="connsiteY3" fmla="*/ 340675 h 432000"/>
                <a:gd name="connsiteX4" fmla="*/ 91325 w 431956"/>
                <a:gd name="connsiteY4" fmla="*/ 432000 h 432000"/>
                <a:gd name="connsiteX5" fmla="*/ 182477 w 431956"/>
                <a:gd name="connsiteY5" fmla="*/ 432000 h 432000"/>
                <a:gd name="connsiteX6" fmla="*/ 182477 w 431956"/>
                <a:gd name="connsiteY6" fmla="*/ 259675 h 432000"/>
                <a:gd name="connsiteX7" fmla="*/ 160358 w 431956"/>
                <a:gd name="connsiteY7" fmla="*/ 259675 h 432000"/>
                <a:gd name="connsiteX8" fmla="*/ 160358 w 431956"/>
                <a:gd name="connsiteY8" fmla="*/ 215741 h 432000"/>
                <a:gd name="connsiteX9" fmla="*/ 182563 w 431956"/>
                <a:gd name="connsiteY9" fmla="*/ 215741 h 432000"/>
                <a:gd name="connsiteX10" fmla="*/ 182563 w 431956"/>
                <a:gd name="connsiteY10" fmla="*/ 182909 h 432000"/>
                <a:gd name="connsiteX11" fmla="*/ 251640 w 431956"/>
                <a:gd name="connsiteY11" fmla="*/ 115344 h 432000"/>
                <a:gd name="connsiteX12" fmla="*/ 282139 w 431956"/>
                <a:gd name="connsiteY12" fmla="*/ 117418 h 432000"/>
                <a:gd name="connsiteX13" fmla="*/ 282139 w 431956"/>
                <a:gd name="connsiteY13" fmla="*/ 159062 h 432000"/>
                <a:gd name="connsiteX14" fmla="*/ 267106 w 431956"/>
                <a:gd name="connsiteY14" fmla="*/ 158069 h 432000"/>
                <a:gd name="connsiteX15" fmla="*/ 238205 w 431956"/>
                <a:gd name="connsiteY15" fmla="*/ 189821 h 432000"/>
                <a:gd name="connsiteX16" fmla="*/ 238205 w 431956"/>
                <a:gd name="connsiteY16" fmla="*/ 215698 h 432000"/>
                <a:gd name="connsiteX17" fmla="*/ 360115 w 431956"/>
                <a:gd name="connsiteY17" fmla="*/ 215698 h 432000"/>
                <a:gd name="connsiteX18" fmla="*/ 360115 w 431956"/>
                <a:gd name="connsiteY18" fmla="*/ 429883 h 432000"/>
                <a:gd name="connsiteX19" fmla="*/ 431957 w 431956"/>
                <a:gd name="connsiteY19" fmla="*/ 340675 h 432000"/>
                <a:gd name="connsiteX20" fmla="*/ 431957 w 431956"/>
                <a:gd name="connsiteY20" fmla="*/ 91325 h 432000"/>
                <a:gd name="connsiteX21" fmla="*/ 340675 w 431956"/>
                <a:gd name="connsiteY21" fmla="*/ 0 h 432000"/>
                <a:gd name="connsiteX22" fmla="*/ 333461 w 431956"/>
                <a:gd name="connsiteY22" fmla="*/ 182563 h 432000"/>
                <a:gd name="connsiteX23" fmla="*/ 299851 w 431956"/>
                <a:gd name="connsiteY23" fmla="*/ 148954 h 432000"/>
                <a:gd name="connsiteX24" fmla="*/ 333461 w 431956"/>
                <a:gd name="connsiteY24" fmla="*/ 115344 h 432000"/>
                <a:gd name="connsiteX25" fmla="*/ 367070 w 431956"/>
                <a:gd name="connsiteY25" fmla="*/ 148954 h 432000"/>
                <a:gd name="connsiteX26" fmla="*/ 333461 w 431956"/>
                <a:gd name="connsiteY26" fmla="*/ 182563 h 43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31956" h="432000">
                  <a:moveTo>
                    <a:pt x="340675" y="0"/>
                  </a:moveTo>
                  <a:lnTo>
                    <a:pt x="91325" y="0"/>
                  </a:lnTo>
                  <a:cubicBezTo>
                    <a:pt x="40867" y="0"/>
                    <a:pt x="0" y="40867"/>
                    <a:pt x="0" y="91325"/>
                  </a:cubicBezTo>
                  <a:lnTo>
                    <a:pt x="0" y="340675"/>
                  </a:lnTo>
                  <a:cubicBezTo>
                    <a:pt x="0" y="391090"/>
                    <a:pt x="40867" y="432000"/>
                    <a:pt x="91325" y="432000"/>
                  </a:cubicBezTo>
                  <a:lnTo>
                    <a:pt x="182477" y="432000"/>
                  </a:lnTo>
                  <a:lnTo>
                    <a:pt x="182477" y="259675"/>
                  </a:lnTo>
                  <a:lnTo>
                    <a:pt x="160358" y="259675"/>
                  </a:lnTo>
                  <a:lnTo>
                    <a:pt x="160358" y="215741"/>
                  </a:lnTo>
                  <a:lnTo>
                    <a:pt x="182563" y="215741"/>
                  </a:lnTo>
                  <a:lnTo>
                    <a:pt x="182563" y="182909"/>
                  </a:lnTo>
                  <a:cubicBezTo>
                    <a:pt x="182563" y="137333"/>
                    <a:pt x="209693" y="115344"/>
                    <a:pt x="251640" y="115344"/>
                  </a:cubicBezTo>
                  <a:cubicBezTo>
                    <a:pt x="263434" y="115344"/>
                    <a:pt x="273067" y="116208"/>
                    <a:pt x="282139" y="117418"/>
                  </a:cubicBezTo>
                  <a:lnTo>
                    <a:pt x="282139" y="159062"/>
                  </a:lnTo>
                  <a:cubicBezTo>
                    <a:pt x="277042" y="158501"/>
                    <a:pt x="272462" y="158069"/>
                    <a:pt x="267106" y="158069"/>
                  </a:cubicBezTo>
                  <a:cubicBezTo>
                    <a:pt x="247968" y="158069"/>
                    <a:pt x="238205" y="166190"/>
                    <a:pt x="238205" y="189821"/>
                  </a:cubicBezTo>
                  <a:lnTo>
                    <a:pt x="238205" y="215698"/>
                  </a:lnTo>
                  <a:lnTo>
                    <a:pt x="360115" y="215698"/>
                  </a:lnTo>
                  <a:lnTo>
                    <a:pt x="360115" y="429883"/>
                  </a:lnTo>
                  <a:cubicBezTo>
                    <a:pt x="401198" y="420941"/>
                    <a:pt x="431957" y="384394"/>
                    <a:pt x="431957" y="340675"/>
                  </a:cubicBezTo>
                  <a:lnTo>
                    <a:pt x="431957" y="91325"/>
                  </a:lnTo>
                  <a:cubicBezTo>
                    <a:pt x="432000" y="40867"/>
                    <a:pt x="391133" y="0"/>
                    <a:pt x="340675" y="0"/>
                  </a:cubicBezTo>
                  <a:close/>
                  <a:moveTo>
                    <a:pt x="333461" y="182563"/>
                  </a:moveTo>
                  <a:cubicBezTo>
                    <a:pt x="314885" y="182563"/>
                    <a:pt x="299851" y="167530"/>
                    <a:pt x="299851" y="148954"/>
                  </a:cubicBezTo>
                  <a:cubicBezTo>
                    <a:pt x="299851" y="130378"/>
                    <a:pt x="314885" y="115344"/>
                    <a:pt x="333461" y="115344"/>
                  </a:cubicBezTo>
                  <a:cubicBezTo>
                    <a:pt x="352037" y="115344"/>
                    <a:pt x="367070" y="130378"/>
                    <a:pt x="367070" y="148954"/>
                  </a:cubicBezTo>
                  <a:cubicBezTo>
                    <a:pt x="367070" y="167530"/>
                    <a:pt x="352037" y="182563"/>
                    <a:pt x="333461" y="182563"/>
                  </a:cubicBezTo>
                  <a:close/>
                </a:path>
              </a:pathLst>
            </a:custGeom>
            <a:solidFill>
              <a:srgbClr val="FFFFFF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7255960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individuellem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6CD355B-1BFE-459B-B4A7-CBEE6B68F3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6127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6CD355B-1BFE-459B-B4A7-CBEE6B68F3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hteck 31">
            <a:extLst>
              <a:ext uri="{FF2B5EF4-FFF2-40B4-BE49-F238E27FC236}">
                <a16:creationId xmlns:a16="http://schemas.microsoft.com/office/drawing/2014/main" id="{C1198686-DE28-4051-A303-732B2DF3AF69}"/>
              </a:ext>
            </a:extLst>
          </p:cNvPr>
          <p:cNvSpPr/>
          <p:nvPr userDrawn="1"/>
        </p:nvSpPr>
        <p:spPr bwMode="gray">
          <a:xfrm>
            <a:off x="7897787" y="0"/>
            <a:ext cx="4297388" cy="5949950"/>
          </a:xfrm>
          <a:prstGeom prst="rect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46F336C9-F463-438D-BAA9-02F6BB337E00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266238" y="6165304"/>
            <a:ext cx="2591989" cy="41852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</p:pic>
      <p:sp>
        <p:nvSpPr>
          <p:cNvPr id="12" name="TextBox 1">
            <a:extLst>
              <a:ext uri="{FF2B5EF4-FFF2-40B4-BE49-F238E27FC236}">
                <a16:creationId xmlns:a16="http://schemas.microsoft.com/office/drawing/2014/main" id="{56B0B1F3-5278-45D0-8C72-A129AC0C2F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gray">
          <a:xfrm>
            <a:off x="336947" y="6475935"/>
            <a:ext cx="2356625" cy="3868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kumimoji="0" sz="950" b="0" i="0" u="none" strike="noStrike" cap="none" spc="0" normalizeH="0" baseline="0">
                <a:ln>
                  <a:noFill/>
                </a:ln>
                <a:solidFill>
                  <a:srgbClr val="444B52"/>
                </a:solidFill>
                <a:effectLst/>
                <a:uLnTx/>
                <a:uFillTx/>
                <a:latin typeface="Sparkasse Rg" panose="020B0504050602020204" pitchFamily="34" charset="0"/>
              </a:defRPr>
            </a:lvl1pPr>
          </a:lstStyle>
          <a:p>
            <a:pPr lvl="0"/>
            <a:r>
              <a:rPr lang="de-DE" noProof="0" dirty="0">
                <a:latin typeface="+mj-lt"/>
              </a:rPr>
              <a:t>Sparkassen-Finanzgruppe</a:t>
            </a:r>
          </a:p>
        </p:txBody>
      </p:sp>
      <p:sp>
        <p:nvSpPr>
          <p:cNvPr id="33" name="Bildplatzhalter 24">
            <a:extLst>
              <a:ext uri="{FF2B5EF4-FFF2-40B4-BE49-F238E27FC236}">
                <a16:creationId xmlns:a16="http://schemas.microsoft.com/office/drawing/2014/main" id="{76A1DAA3-ADD6-499D-8C44-A88C7C0C5C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7897813" cy="5949950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>
                <a:latin typeface="+mj-lt"/>
              </a:defRPr>
            </a:lvl1pPr>
          </a:lstStyle>
          <a:p>
            <a:r>
              <a:rPr lang="de-DE" dirty="0"/>
              <a:t>Bild durch Klicken auf</a:t>
            </a:r>
            <a:br>
              <a:rPr lang="de-DE" dirty="0"/>
            </a:br>
            <a:r>
              <a:rPr lang="de-DE" dirty="0"/>
              <a:t>Symbol hinzufügen</a:t>
            </a:r>
          </a:p>
        </p:txBody>
      </p:sp>
      <p:sp>
        <p:nvSpPr>
          <p:cNvPr id="38" name="Titel 37">
            <a:extLst>
              <a:ext uri="{FF2B5EF4-FFF2-40B4-BE49-F238E27FC236}">
                <a16:creationId xmlns:a16="http://schemas.microsoft.com/office/drawing/2014/main" id="{83E8E926-86FA-4FD1-AE0B-EF24CE1508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3611" y="1628800"/>
            <a:ext cx="5881564" cy="2736304"/>
          </a:xfrm>
          <a:solidFill>
            <a:schemeClr val="tx2"/>
          </a:solidFill>
          <a:ln>
            <a:noFill/>
          </a:ln>
        </p:spPr>
        <p:txBody>
          <a:bodyPr vert="horz" lIns="360000" tIns="216000" rIns="360000" bIns="216000" anchor="t"/>
          <a:lstStyle>
            <a:lvl1pPr>
              <a:defRPr sz="4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313611" y="3140968"/>
            <a:ext cx="5881564" cy="1224000"/>
          </a:xfrm>
          <a:prstGeom prst="rect">
            <a:avLst/>
          </a:prstGeom>
          <a:noFill/>
          <a:ln>
            <a:noFill/>
          </a:ln>
        </p:spPr>
        <p:txBody>
          <a:bodyPr wrap="square" lIns="360000" tIns="144000" rIns="360000" bIns="144000" rtlCol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kumimoji="0" lang="de-DE" sz="24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rgbClr val="444B52"/>
                </a:solidFill>
              </a:defRPr>
            </a:lvl9pPr>
          </a:lstStyle>
          <a:p>
            <a:pPr lvl="0"/>
            <a:r>
              <a:rPr lang="de-DE" dirty="0"/>
              <a:t>Untertitel der Präsentation</a:t>
            </a:r>
          </a:p>
        </p:txBody>
      </p:sp>
      <p:grpSp>
        <p:nvGrpSpPr>
          <p:cNvPr id="10" name="Grafik 17">
            <a:extLst>
              <a:ext uri="{FF2B5EF4-FFF2-40B4-BE49-F238E27FC236}">
                <a16:creationId xmlns:a16="http://schemas.microsoft.com/office/drawing/2014/main" id="{F03EBB12-4C09-429F-B836-8038B02F6625}"/>
              </a:ext>
            </a:extLst>
          </p:cNvPr>
          <p:cNvGrpSpPr/>
          <p:nvPr userDrawn="1"/>
        </p:nvGrpSpPr>
        <p:grpSpPr>
          <a:xfrm>
            <a:off x="11426227" y="332656"/>
            <a:ext cx="431956" cy="432000"/>
            <a:chOff x="11426227" y="332656"/>
            <a:chExt cx="431956" cy="432000"/>
          </a:xfrm>
          <a:solidFill>
            <a:srgbClr val="FFFFFF"/>
          </a:solidFill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952E279D-88F9-4789-A8D1-249EFBE8F193}"/>
                </a:ext>
              </a:extLst>
            </p:cNvPr>
            <p:cNvSpPr/>
            <p:nvPr/>
          </p:nvSpPr>
          <p:spPr>
            <a:xfrm>
              <a:off x="11664777" y="592331"/>
              <a:ext cx="66225" cy="172281"/>
            </a:xfrm>
            <a:custGeom>
              <a:avLst/>
              <a:gdLst>
                <a:gd name="connsiteX0" fmla="*/ 0 w 66225"/>
                <a:gd name="connsiteY0" fmla="*/ 0 h 172281"/>
                <a:gd name="connsiteX1" fmla="*/ 66226 w 66225"/>
                <a:gd name="connsiteY1" fmla="*/ 0 h 172281"/>
                <a:gd name="connsiteX2" fmla="*/ 66226 w 66225"/>
                <a:gd name="connsiteY2" fmla="*/ 172282 h 172281"/>
                <a:gd name="connsiteX3" fmla="*/ 0 w 66225"/>
                <a:gd name="connsiteY3" fmla="*/ 172282 h 172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5" h="172281">
                  <a:moveTo>
                    <a:pt x="0" y="0"/>
                  </a:moveTo>
                  <a:lnTo>
                    <a:pt x="66226" y="0"/>
                  </a:lnTo>
                  <a:lnTo>
                    <a:pt x="66226" y="172282"/>
                  </a:lnTo>
                  <a:lnTo>
                    <a:pt x="0" y="172282"/>
                  </a:lnTo>
                  <a:close/>
                </a:path>
              </a:pathLst>
            </a:custGeom>
            <a:solidFill>
              <a:srgbClr val="FFFFFF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31CCE31E-F7C8-44CF-ADE1-6CA3D4F78A8D}"/>
                </a:ext>
              </a:extLst>
            </p:cNvPr>
            <p:cNvSpPr/>
            <p:nvPr/>
          </p:nvSpPr>
          <p:spPr>
            <a:xfrm>
              <a:off x="11426227" y="332656"/>
              <a:ext cx="431956" cy="432000"/>
            </a:xfrm>
            <a:custGeom>
              <a:avLst/>
              <a:gdLst>
                <a:gd name="connsiteX0" fmla="*/ 340675 w 431956"/>
                <a:gd name="connsiteY0" fmla="*/ 0 h 432000"/>
                <a:gd name="connsiteX1" fmla="*/ 91325 w 431956"/>
                <a:gd name="connsiteY1" fmla="*/ 0 h 432000"/>
                <a:gd name="connsiteX2" fmla="*/ 0 w 431956"/>
                <a:gd name="connsiteY2" fmla="*/ 91325 h 432000"/>
                <a:gd name="connsiteX3" fmla="*/ 0 w 431956"/>
                <a:gd name="connsiteY3" fmla="*/ 340675 h 432000"/>
                <a:gd name="connsiteX4" fmla="*/ 91325 w 431956"/>
                <a:gd name="connsiteY4" fmla="*/ 432000 h 432000"/>
                <a:gd name="connsiteX5" fmla="*/ 182477 w 431956"/>
                <a:gd name="connsiteY5" fmla="*/ 432000 h 432000"/>
                <a:gd name="connsiteX6" fmla="*/ 182477 w 431956"/>
                <a:gd name="connsiteY6" fmla="*/ 259675 h 432000"/>
                <a:gd name="connsiteX7" fmla="*/ 160358 w 431956"/>
                <a:gd name="connsiteY7" fmla="*/ 259675 h 432000"/>
                <a:gd name="connsiteX8" fmla="*/ 160358 w 431956"/>
                <a:gd name="connsiteY8" fmla="*/ 215741 h 432000"/>
                <a:gd name="connsiteX9" fmla="*/ 182563 w 431956"/>
                <a:gd name="connsiteY9" fmla="*/ 215741 h 432000"/>
                <a:gd name="connsiteX10" fmla="*/ 182563 w 431956"/>
                <a:gd name="connsiteY10" fmla="*/ 182909 h 432000"/>
                <a:gd name="connsiteX11" fmla="*/ 251640 w 431956"/>
                <a:gd name="connsiteY11" fmla="*/ 115344 h 432000"/>
                <a:gd name="connsiteX12" fmla="*/ 282139 w 431956"/>
                <a:gd name="connsiteY12" fmla="*/ 117418 h 432000"/>
                <a:gd name="connsiteX13" fmla="*/ 282139 w 431956"/>
                <a:gd name="connsiteY13" fmla="*/ 159062 h 432000"/>
                <a:gd name="connsiteX14" fmla="*/ 267106 w 431956"/>
                <a:gd name="connsiteY14" fmla="*/ 158069 h 432000"/>
                <a:gd name="connsiteX15" fmla="*/ 238205 w 431956"/>
                <a:gd name="connsiteY15" fmla="*/ 189821 h 432000"/>
                <a:gd name="connsiteX16" fmla="*/ 238205 w 431956"/>
                <a:gd name="connsiteY16" fmla="*/ 215698 h 432000"/>
                <a:gd name="connsiteX17" fmla="*/ 360115 w 431956"/>
                <a:gd name="connsiteY17" fmla="*/ 215698 h 432000"/>
                <a:gd name="connsiteX18" fmla="*/ 360115 w 431956"/>
                <a:gd name="connsiteY18" fmla="*/ 429883 h 432000"/>
                <a:gd name="connsiteX19" fmla="*/ 431957 w 431956"/>
                <a:gd name="connsiteY19" fmla="*/ 340675 h 432000"/>
                <a:gd name="connsiteX20" fmla="*/ 431957 w 431956"/>
                <a:gd name="connsiteY20" fmla="*/ 91325 h 432000"/>
                <a:gd name="connsiteX21" fmla="*/ 340675 w 431956"/>
                <a:gd name="connsiteY21" fmla="*/ 0 h 432000"/>
                <a:gd name="connsiteX22" fmla="*/ 333461 w 431956"/>
                <a:gd name="connsiteY22" fmla="*/ 182563 h 432000"/>
                <a:gd name="connsiteX23" fmla="*/ 299851 w 431956"/>
                <a:gd name="connsiteY23" fmla="*/ 148954 h 432000"/>
                <a:gd name="connsiteX24" fmla="*/ 333461 w 431956"/>
                <a:gd name="connsiteY24" fmla="*/ 115344 h 432000"/>
                <a:gd name="connsiteX25" fmla="*/ 367070 w 431956"/>
                <a:gd name="connsiteY25" fmla="*/ 148954 h 432000"/>
                <a:gd name="connsiteX26" fmla="*/ 333461 w 431956"/>
                <a:gd name="connsiteY26" fmla="*/ 182563 h 43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31956" h="432000">
                  <a:moveTo>
                    <a:pt x="340675" y="0"/>
                  </a:moveTo>
                  <a:lnTo>
                    <a:pt x="91325" y="0"/>
                  </a:lnTo>
                  <a:cubicBezTo>
                    <a:pt x="40867" y="0"/>
                    <a:pt x="0" y="40867"/>
                    <a:pt x="0" y="91325"/>
                  </a:cubicBezTo>
                  <a:lnTo>
                    <a:pt x="0" y="340675"/>
                  </a:lnTo>
                  <a:cubicBezTo>
                    <a:pt x="0" y="391090"/>
                    <a:pt x="40867" y="432000"/>
                    <a:pt x="91325" y="432000"/>
                  </a:cubicBezTo>
                  <a:lnTo>
                    <a:pt x="182477" y="432000"/>
                  </a:lnTo>
                  <a:lnTo>
                    <a:pt x="182477" y="259675"/>
                  </a:lnTo>
                  <a:lnTo>
                    <a:pt x="160358" y="259675"/>
                  </a:lnTo>
                  <a:lnTo>
                    <a:pt x="160358" y="215741"/>
                  </a:lnTo>
                  <a:lnTo>
                    <a:pt x="182563" y="215741"/>
                  </a:lnTo>
                  <a:lnTo>
                    <a:pt x="182563" y="182909"/>
                  </a:lnTo>
                  <a:cubicBezTo>
                    <a:pt x="182563" y="137333"/>
                    <a:pt x="209693" y="115344"/>
                    <a:pt x="251640" y="115344"/>
                  </a:cubicBezTo>
                  <a:cubicBezTo>
                    <a:pt x="263434" y="115344"/>
                    <a:pt x="273067" y="116208"/>
                    <a:pt x="282139" y="117418"/>
                  </a:cubicBezTo>
                  <a:lnTo>
                    <a:pt x="282139" y="159062"/>
                  </a:lnTo>
                  <a:cubicBezTo>
                    <a:pt x="277042" y="158501"/>
                    <a:pt x="272462" y="158069"/>
                    <a:pt x="267106" y="158069"/>
                  </a:cubicBezTo>
                  <a:cubicBezTo>
                    <a:pt x="247968" y="158069"/>
                    <a:pt x="238205" y="166190"/>
                    <a:pt x="238205" y="189821"/>
                  </a:cubicBezTo>
                  <a:lnTo>
                    <a:pt x="238205" y="215698"/>
                  </a:lnTo>
                  <a:lnTo>
                    <a:pt x="360115" y="215698"/>
                  </a:lnTo>
                  <a:lnTo>
                    <a:pt x="360115" y="429883"/>
                  </a:lnTo>
                  <a:cubicBezTo>
                    <a:pt x="401198" y="420941"/>
                    <a:pt x="431957" y="384394"/>
                    <a:pt x="431957" y="340675"/>
                  </a:cubicBezTo>
                  <a:lnTo>
                    <a:pt x="431957" y="91325"/>
                  </a:lnTo>
                  <a:cubicBezTo>
                    <a:pt x="432000" y="40867"/>
                    <a:pt x="391133" y="0"/>
                    <a:pt x="340675" y="0"/>
                  </a:cubicBezTo>
                  <a:close/>
                  <a:moveTo>
                    <a:pt x="333461" y="182563"/>
                  </a:moveTo>
                  <a:cubicBezTo>
                    <a:pt x="314885" y="182563"/>
                    <a:pt x="299851" y="167530"/>
                    <a:pt x="299851" y="148954"/>
                  </a:cubicBezTo>
                  <a:cubicBezTo>
                    <a:pt x="299851" y="130378"/>
                    <a:pt x="314885" y="115344"/>
                    <a:pt x="333461" y="115344"/>
                  </a:cubicBezTo>
                  <a:cubicBezTo>
                    <a:pt x="352037" y="115344"/>
                    <a:pt x="367070" y="130378"/>
                    <a:pt x="367070" y="148954"/>
                  </a:cubicBezTo>
                  <a:cubicBezTo>
                    <a:pt x="367070" y="167530"/>
                    <a:pt x="352037" y="182563"/>
                    <a:pt x="333461" y="182563"/>
                  </a:cubicBezTo>
                  <a:close/>
                </a:path>
              </a:pathLst>
            </a:custGeom>
            <a:solidFill>
              <a:srgbClr val="FFFFFF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5251301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A2944FC-8B89-45A6-BF24-F8E168DAB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7059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A2944FC-8B89-45A6-BF24-F8E168DAB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 rot="5400000">
            <a:off x="7321587" y="-3123000"/>
            <a:ext cx="504000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18000" tIns="0" bIns="648000" anchor="ctr"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400" b="0" baseline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tabLst>
                <a:tab pos="8064000" algn="r"/>
              </a:tabLst>
              <a:defRPr sz="1400"/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9pPr>
          </a:lstStyle>
          <a:p>
            <a:pPr lvl="0"/>
            <a:r>
              <a:rPr lang="de-DE" dirty="0"/>
              <a:t>1. Punkt</a:t>
            </a:r>
          </a:p>
        </p:txBody>
      </p:sp>
      <p:sp>
        <p:nvSpPr>
          <p:cNvPr id="21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 rot="5400000">
            <a:off x="7321587" y="-2619000"/>
            <a:ext cx="504000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18000" tIns="0" bIns="648000" anchor="ctr"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400" b="0" baseline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tabLst>
                <a:tab pos="8064000" algn="r"/>
              </a:tabLst>
              <a:defRPr sz="1400"/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9pPr>
          </a:lstStyle>
          <a:p>
            <a:pPr lvl="0"/>
            <a:r>
              <a:rPr lang="de-DE" dirty="0"/>
              <a:t>2. Punkt</a:t>
            </a:r>
          </a:p>
        </p:txBody>
      </p:sp>
      <p:sp>
        <p:nvSpPr>
          <p:cNvPr id="23" name="Textplatzhalter 14"/>
          <p:cNvSpPr>
            <a:spLocks noGrp="1"/>
          </p:cNvSpPr>
          <p:nvPr>
            <p:ph type="body" sz="quarter" idx="21" hasCustomPrompt="1"/>
          </p:nvPr>
        </p:nvSpPr>
        <p:spPr bwMode="gray">
          <a:xfrm rot="5400000">
            <a:off x="7321587" y="-2115000"/>
            <a:ext cx="504000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18000" tIns="0" bIns="648000" anchor="ctr"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400" b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tabLst>
                <a:tab pos="8064000" algn="r"/>
              </a:tabLst>
              <a:defRPr sz="1400"/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9pPr>
          </a:lstStyle>
          <a:p>
            <a:pPr lvl="0"/>
            <a:r>
              <a:rPr lang="de-DE" dirty="0"/>
              <a:t>3. Punkt</a:t>
            </a:r>
          </a:p>
        </p:txBody>
      </p:sp>
      <p:sp>
        <p:nvSpPr>
          <p:cNvPr id="25" name="Textplatzhalter 14"/>
          <p:cNvSpPr>
            <a:spLocks noGrp="1"/>
          </p:cNvSpPr>
          <p:nvPr>
            <p:ph type="body" sz="quarter" idx="23" hasCustomPrompt="1"/>
          </p:nvPr>
        </p:nvSpPr>
        <p:spPr bwMode="gray">
          <a:xfrm rot="5400000">
            <a:off x="7321587" y="-1611000"/>
            <a:ext cx="504000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18000" tIns="0" bIns="648000" anchor="ctr"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400" b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tabLst>
                <a:tab pos="8064000" algn="r"/>
              </a:tabLst>
              <a:defRPr sz="1400"/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9pPr>
          </a:lstStyle>
          <a:p>
            <a:pPr lvl="0"/>
            <a:r>
              <a:rPr lang="de-DE" dirty="0"/>
              <a:t>4. Punkt</a:t>
            </a:r>
          </a:p>
        </p:txBody>
      </p:sp>
      <p:sp>
        <p:nvSpPr>
          <p:cNvPr id="27" name="Textplatzhalter 14"/>
          <p:cNvSpPr>
            <a:spLocks noGrp="1"/>
          </p:cNvSpPr>
          <p:nvPr>
            <p:ph type="body" sz="quarter" idx="25" hasCustomPrompt="1"/>
          </p:nvPr>
        </p:nvSpPr>
        <p:spPr bwMode="gray">
          <a:xfrm rot="5400000">
            <a:off x="7321587" y="-1107000"/>
            <a:ext cx="504000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18000" tIns="0" bIns="648000" anchor="ctr"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400" b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tabLst>
                <a:tab pos="8064000" algn="r"/>
              </a:tabLst>
              <a:defRPr sz="1400"/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9pPr>
          </a:lstStyle>
          <a:p>
            <a:pPr lvl="0"/>
            <a:r>
              <a:rPr lang="de-DE" dirty="0"/>
              <a:t>5. Punkt</a:t>
            </a:r>
          </a:p>
        </p:txBody>
      </p:sp>
      <p:sp>
        <p:nvSpPr>
          <p:cNvPr id="29" name="Textplatzhalter 14"/>
          <p:cNvSpPr>
            <a:spLocks noGrp="1"/>
          </p:cNvSpPr>
          <p:nvPr>
            <p:ph type="body" sz="quarter" idx="27" hasCustomPrompt="1"/>
          </p:nvPr>
        </p:nvSpPr>
        <p:spPr bwMode="gray">
          <a:xfrm rot="5400000">
            <a:off x="7321587" y="-603000"/>
            <a:ext cx="504000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18000" tIns="0" bIns="648000" anchor="ctr"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400" b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tabLst>
                <a:tab pos="8064000" algn="r"/>
              </a:tabLst>
              <a:defRPr sz="1400"/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9pPr>
          </a:lstStyle>
          <a:p>
            <a:pPr lvl="0"/>
            <a:r>
              <a:rPr lang="de-DE" dirty="0"/>
              <a:t>6. Punkt</a:t>
            </a:r>
          </a:p>
        </p:txBody>
      </p:sp>
      <p:sp>
        <p:nvSpPr>
          <p:cNvPr id="30" name="Textplatzhalter 14">
            <a:extLst>
              <a:ext uri="{FF2B5EF4-FFF2-40B4-BE49-F238E27FC236}">
                <a16:creationId xmlns:a16="http://schemas.microsoft.com/office/drawing/2014/main" id="{25022B32-E72B-4FBE-BEA6-FC38690EEF6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 rot="5400000">
            <a:off x="7321587" y="-99000"/>
            <a:ext cx="504000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18000" tIns="0" bIns="648000" anchor="ctr"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400" b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tabLst>
                <a:tab pos="8064000" algn="r"/>
              </a:tabLst>
              <a:defRPr sz="1400"/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9pPr>
          </a:lstStyle>
          <a:p>
            <a:pPr lvl="0"/>
            <a:r>
              <a:rPr lang="de-DE" dirty="0"/>
              <a:t>7. Punkt</a:t>
            </a:r>
          </a:p>
        </p:txBody>
      </p:sp>
      <p:sp>
        <p:nvSpPr>
          <p:cNvPr id="32" name="Textplatzhalter 14">
            <a:extLst>
              <a:ext uri="{FF2B5EF4-FFF2-40B4-BE49-F238E27FC236}">
                <a16:creationId xmlns:a16="http://schemas.microsoft.com/office/drawing/2014/main" id="{7887ECDC-D876-4CA9-95E8-B519C77A167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 rot="5400000">
            <a:off x="7321587" y="405000"/>
            <a:ext cx="504000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18000" tIns="0" bIns="648000" anchor="ctr"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400" b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tabLst>
                <a:tab pos="8064000" algn="r"/>
              </a:tabLst>
              <a:defRPr sz="1400"/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9pPr>
          </a:lstStyle>
          <a:p>
            <a:pPr lvl="0"/>
            <a:r>
              <a:rPr lang="de-DE" dirty="0"/>
              <a:t>8. Punkt</a:t>
            </a:r>
          </a:p>
        </p:txBody>
      </p:sp>
      <p:sp>
        <p:nvSpPr>
          <p:cNvPr id="37" name="Textplatzhalter 14">
            <a:extLst>
              <a:ext uri="{FF2B5EF4-FFF2-40B4-BE49-F238E27FC236}">
                <a16:creationId xmlns:a16="http://schemas.microsoft.com/office/drawing/2014/main" id="{BB5C6E3B-E632-452C-89F7-0D07D82DEDF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 rot="5400000">
            <a:off x="7321587" y="909000"/>
            <a:ext cx="504000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18000" tIns="0" bIns="648000" anchor="ctr"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400" b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tabLst>
                <a:tab pos="8064000" algn="r"/>
              </a:tabLst>
              <a:defRPr sz="1400"/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9pPr>
          </a:lstStyle>
          <a:p>
            <a:pPr lvl="0"/>
            <a:r>
              <a:rPr lang="de-DE" dirty="0"/>
              <a:t>9. Punkt</a:t>
            </a:r>
          </a:p>
        </p:txBody>
      </p:sp>
      <p:sp>
        <p:nvSpPr>
          <p:cNvPr id="39" name="Textplatzhalter 14">
            <a:extLst>
              <a:ext uri="{FF2B5EF4-FFF2-40B4-BE49-F238E27FC236}">
                <a16:creationId xmlns:a16="http://schemas.microsoft.com/office/drawing/2014/main" id="{9DD6525B-44FA-4033-816B-5490EB48A25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 rot="5400000">
            <a:off x="7321587" y="1413000"/>
            <a:ext cx="504000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18000" tIns="0" bIns="648000" anchor="ctr"/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400" b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tabLst>
                <a:tab pos="8064000" algn="r"/>
              </a:tabLst>
              <a:defRPr sz="1400"/>
            </a:lvl2pPr>
            <a:lvl3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3pPr>
            <a:lvl4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4pPr>
            <a:lvl5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5pPr>
            <a:lvl6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6pPr>
            <a:lvl7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7pPr>
            <a:lvl8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8pPr>
            <a:lvl9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8064000" algn="r"/>
              </a:tabLst>
              <a:defRPr sz="1400"/>
            </a:lvl9pPr>
          </a:lstStyle>
          <a:p>
            <a:pPr lvl="0"/>
            <a:r>
              <a:rPr lang="de-DE" dirty="0"/>
              <a:t>10. Punkt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89587" y="909000"/>
            <a:ext cx="576000" cy="504000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2400" b="1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2400" b="1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2400" b="1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2400" b="1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2400" b="1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2400" b="1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2400" b="1"/>
            </a:lvl9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2928938" cy="5949950"/>
          </a:xfrm>
          <a:solidFill>
            <a:schemeClr val="bg2"/>
          </a:solidFill>
        </p:spPr>
        <p:txBody>
          <a:bodyPr vert="horz" lIns="342000" tIns="694800" rIns="216000" bIns="144000" anchor="t"/>
          <a:lstStyle>
            <a:lvl1pPr>
              <a:defRPr sz="44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289587" y="1413000"/>
            <a:ext cx="576000" cy="504000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lang="de-DE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lang="de-DE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lang="de-DE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lang="de-DE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lang="de-DE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lang="de-DE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lang="de-DE" sz="2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289587" y="1917000"/>
            <a:ext cx="576000" cy="504000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2400" b="1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2400" b="1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2400" b="1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2400" b="1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2400" b="1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2400" b="1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2400" b="1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2400" b="1"/>
            </a:lvl9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289587" y="2421000"/>
            <a:ext cx="576000" cy="504000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6" name="Textplatzhalter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289587" y="2925000"/>
            <a:ext cx="576000" cy="504000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289587" y="3429000"/>
            <a:ext cx="576000" cy="504000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E933A47D-C0EC-4591-96B0-F2017D647B03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2D588DE4-411F-4EF9-A5C5-1A8364B1C251}" type="datetime1">
              <a:rPr lang="de-DE" smtClean="0"/>
              <a:t>18.12.2024</a:t>
            </a:fld>
            <a:endParaRPr lang="de-DE" dirty="0"/>
          </a:p>
        </p:txBody>
      </p:sp>
      <p:sp>
        <p:nvSpPr>
          <p:cNvPr id="36" name="Foliennummernplatzhalter 35">
            <a:extLst>
              <a:ext uri="{FF2B5EF4-FFF2-40B4-BE49-F238E27FC236}">
                <a16:creationId xmlns:a16="http://schemas.microsoft.com/office/drawing/2014/main" id="{0EE968FB-CA12-480E-8B1E-5032960225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1" name="Textplatzhalter 7">
            <a:extLst>
              <a:ext uri="{FF2B5EF4-FFF2-40B4-BE49-F238E27FC236}">
                <a16:creationId xmlns:a16="http://schemas.microsoft.com/office/drawing/2014/main" id="{A7506D62-8067-4F79-9324-7795170527B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289587" y="3933000"/>
            <a:ext cx="576000" cy="504000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33" name="Textplatzhalter 7">
            <a:extLst>
              <a:ext uri="{FF2B5EF4-FFF2-40B4-BE49-F238E27FC236}">
                <a16:creationId xmlns:a16="http://schemas.microsoft.com/office/drawing/2014/main" id="{6A9E32E6-5B3D-4CFC-86CE-2EC5480FA4B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289587" y="4437000"/>
            <a:ext cx="576000" cy="504000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38" name="Textplatzhalter 7">
            <a:extLst>
              <a:ext uri="{FF2B5EF4-FFF2-40B4-BE49-F238E27FC236}">
                <a16:creationId xmlns:a16="http://schemas.microsoft.com/office/drawing/2014/main" id="{71B16A19-9925-4D6A-8A0F-7DD14B00A8D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289587" y="4941000"/>
            <a:ext cx="576000" cy="504000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9</a:t>
            </a:r>
          </a:p>
        </p:txBody>
      </p:sp>
      <p:sp>
        <p:nvSpPr>
          <p:cNvPr id="40" name="Textplatzhalter 7">
            <a:extLst>
              <a:ext uri="{FF2B5EF4-FFF2-40B4-BE49-F238E27FC236}">
                <a16:creationId xmlns:a16="http://schemas.microsoft.com/office/drawing/2014/main" id="{AE0BAC5C-D28F-4B71-A382-6ECCA9A546C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289587" y="5445000"/>
            <a:ext cx="576000" cy="504000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lang="de-DE" sz="24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9130246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A2944FC-8B89-45A6-BF24-F8E168DAB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636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 rot="5400000">
            <a:off x="7177587" y="-2691000"/>
            <a:ext cx="792000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0" tIns="0" bIns="1080000"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800" b="0" baseline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tabLst>
                <a:tab pos="8064000" algn="r"/>
              </a:tabLst>
              <a:defRPr/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5pPr>
            <a:lvl6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6pPr>
            <a:lvl7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7pPr>
            <a:lvl8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8pPr>
            <a:lvl9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9pPr>
          </a:lstStyle>
          <a:p>
            <a:pPr lvl="0"/>
            <a:r>
              <a:rPr lang="de-DE" dirty="0"/>
              <a:t>1. Punkt</a:t>
            </a:r>
          </a:p>
        </p:txBody>
      </p:sp>
      <p:sp>
        <p:nvSpPr>
          <p:cNvPr id="21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 rot="5400000">
            <a:off x="7177587" y="-1899000"/>
            <a:ext cx="792000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0" tIns="0" bIns="1080000"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800" b="0" baseline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tabLst>
                <a:tab pos="8064000" algn="r"/>
              </a:tabLst>
              <a:defRPr/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5pPr>
            <a:lvl6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6pPr>
            <a:lvl7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7pPr>
            <a:lvl8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8pPr>
            <a:lvl9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9pPr>
          </a:lstStyle>
          <a:p>
            <a:pPr lvl="0"/>
            <a:r>
              <a:rPr lang="de-DE" dirty="0"/>
              <a:t>2. Punkt</a:t>
            </a:r>
          </a:p>
        </p:txBody>
      </p:sp>
      <p:sp>
        <p:nvSpPr>
          <p:cNvPr id="23" name="Textplatzhalter 14"/>
          <p:cNvSpPr>
            <a:spLocks noGrp="1"/>
          </p:cNvSpPr>
          <p:nvPr>
            <p:ph type="body" sz="quarter" idx="21" hasCustomPrompt="1"/>
          </p:nvPr>
        </p:nvSpPr>
        <p:spPr bwMode="gray">
          <a:xfrm rot="5400000">
            <a:off x="7177587" y="-1107000"/>
            <a:ext cx="792000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0" tIns="0" bIns="1080000"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800" b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tabLst>
                <a:tab pos="8064000" algn="r"/>
              </a:tabLst>
              <a:defRPr/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5pPr>
            <a:lvl6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6pPr>
            <a:lvl7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7pPr>
            <a:lvl8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8pPr>
            <a:lvl9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9pPr>
          </a:lstStyle>
          <a:p>
            <a:pPr lvl="0"/>
            <a:r>
              <a:rPr lang="de-DE" dirty="0"/>
              <a:t>3. Punkt</a:t>
            </a:r>
          </a:p>
        </p:txBody>
      </p:sp>
      <p:sp>
        <p:nvSpPr>
          <p:cNvPr id="25" name="Textplatzhalter 14"/>
          <p:cNvSpPr>
            <a:spLocks noGrp="1"/>
          </p:cNvSpPr>
          <p:nvPr>
            <p:ph type="body" sz="quarter" idx="23" hasCustomPrompt="1"/>
          </p:nvPr>
        </p:nvSpPr>
        <p:spPr bwMode="gray">
          <a:xfrm rot="5400000">
            <a:off x="7177587" y="-315000"/>
            <a:ext cx="792000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0" tIns="0" bIns="1080000"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800" b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tabLst>
                <a:tab pos="8064000" algn="r"/>
              </a:tabLst>
              <a:defRPr/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5pPr>
            <a:lvl6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6pPr>
            <a:lvl7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7pPr>
            <a:lvl8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8pPr>
            <a:lvl9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9pPr>
          </a:lstStyle>
          <a:p>
            <a:pPr lvl="0"/>
            <a:r>
              <a:rPr lang="de-DE" dirty="0"/>
              <a:t>4. Punkt</a:t>
            </a:r>
          </a:p>
        </p:txBody>
      </p:sp>
      <p:sp>
        <p:nvSpPr>
          <p:cNvPr id="27" name="Textplatzhalter 14"/>
          <p:cNvSpPr>
            <a:spLocks noGrp="1"/>
          </p:cNvSpPr>
          <p:nvPr>
            <p:ph type="body" sz="quarter" idx="25" hasCustomPrompt="1"/>
          </p:nvPr>
        </p:nvSpPr>
        <p:spPr bwMode="gray">
          <a:xfrm rot="5400000">
            <a:off x="7177587" y="477000"/>
            <a:ext cx="792000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0" tIns="0" bIns="1080000"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800" b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tabLst>
                <a:tab pos="8064000" algn="r"/>
              </a:tabLst>
              <a:defRPr/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5pPr>
            <a:lvl6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6pPr>
            <a:lvl7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7pPr>
            <a:lvl8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8pPr>
            <a:lvl9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9pPr>
          </a:lstStyle>
          <a:p>
            <a:pPr lvl="0"/>
            <a:r>
              <a:rPr lang="de-DE" dirty="0"/>
              <a:t>5. Punkt</a:t>
            </a:r>
          </a:p>
        </p:txBody>
      </p:sp>
      <p:sp>
        <p:nvSpPr>
          <p:cNvPr id="29" name="Textplatzhalter 14"/>
          <p:cNvSpPr>
            <a:spLocks noGrp="1"/>
          </p:cNvSpPr>
          <p:nvPr>
            <p:ph type="body" sz="quarter" idx="27" hasCustomPrompt="1"/>
          </p:nvPr>
        </p:nvSpPr>
        <p:spPr bwMode="gray">
          <a:xfrm rot="5400000">
            <a:off x="7177587" y="1269000"/>
            <a:ext cx="792000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0" tIns="0" bIns="1080000"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800" b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tabLst>
                <a:tab pos="8064000" algn="r"/>
              </a:tabLst>
              <a:defRPr/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5pPr>
            <a:lvl6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6pPr>
            <a:lvl7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7pPr>
            <a:lvl8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8pPr>
            <a:lvl9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9pPr>
          </a:lstStyle>
          <a:p>
            <a:pPr lvl="0"/>
            <a:r>
              <a:rPr lang="de-DE" dirty="0"/>
              <a:t>6. Punkt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89587" y="1197000"/>
            <a:ext cx="1008000" cy="792000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4400" b="1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4400" b="1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4400" b="1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4400" b="1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4400" b="1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4400" b="1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4400" b="1"/>
            </a:lvl9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2928938" cy="5949950"/>
          </a:xfrm>
          <a:solidFill>
            <a:schemeClr val="bg2"/>
          </a:solidFill>
        </p:spPr>
        <p:txBody>
          <a:bodyPr vert="horz" lIns="342000" tIns="694800" rIns="216000" bIns="144000" anchor="t"/>
          <a:lstStyle>
            <a:lvl1pPr>
              <a:defRPr sz="44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289587" y="1989000"/>
            <a:ext cx="1008000" cy="792000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4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4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lang="de-DE" sz="4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lang="de-DE" sz="4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lang="de-DE" sz="4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lang="de-DE" sz="4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lang="de-DE" sz="4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lang="de-DE" sz="4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lang="de-DE" sz="4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289587" y="2781000"/>
            <a:ext cx="1008000" cy="792000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9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289587" y="3573000"/>
            <a:ext cx="1008000" cy="792000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9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6" name="Textplatzhalter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289587" y="4365000"/>
            <a:ext cx="1008000" cy="792000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9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289587" y="5157000"/>
            <a:ext cx="1008000" cy="792000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4400" b="1"/>
            </a:lvl9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E933A47D-C0EC-4591-96B0-F2017D647B03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30180381-3DA1-4118-93B5-9B62E5625139}" type="datetime1">
              <a:rPr lang="de-DE" smtClean="0"/>
              <a:t>18.12.2024</a:t>
            </a:fld>
            <a:endParaRPr lang="de-DE" dirty="0"/>
          </a:p>
        </p:txBody>
      </p:sp>
      <p:sp>
        <p:nvSpPr>
          <p:cNvPr id="36" name="Foliennummernplatzhalter 35">
            <a:extLst>
              <a:ext uri="{FF2B5EF4-FFF2-40B4-BE49-F238E27FC236}">
                <a16:creationId xmlns:a16="http://schemas.microsoft.com/office/drawing/2014/main" id="{0EE968FB-CA12-480E-8B1E-5032960225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94442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A2944FC-8B89-45A6-BF24-F8E168DAB8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8669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A2944FC-8B89-45A6-BF24-F8E168DAB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 rot="5400000">
            <a:off x="7249111" y="-3194525"/>
            <a:ext cx="648951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0" tIns="0" bIns="1080000"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800" b="0" baseline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tabLst>
                <a:tab pos="8064000" algn="r"/>
              </a:tabLst>
              <a:defRPr/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5pPr>
            <a:lvl6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6pPr>
            <a:lvl7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7pPr>
            <a:lvl8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8pPr>
            <a:lvl9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9pPr>
          </a:lstStyle>
          <a:p>
            <a:pPr lvl="0"/>
            <a:r>
              <a:rPr lang="de-DE" dirty="0"/>
              <a:t>1. Punkt</a:t>
            </a:r>
          </a:p>
        </p:txBody>
      </p:sp>
      <p:sp>
        <p:nvSpPr>
          <p:cNvPr id="21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 rot="5400000">
            <a:off x="7249111" y="-2546526"/>
            <a:ext cx="648951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0" tIns="0" bIns="1080000"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800" b="0" baseline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tabLst>
                <a:tab pos="8064000" algn="r"/>
              </a:tabLst>
              <a:defRPr/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5pPr>
            <a:lvl6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6pPr>
            <a:lvl7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7pPr>
            <a:lvl8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8pPr>
            <a:lvl9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9pPr>
          </a:lstStyle>
          <a:p>
            <a:pPr lvl="0"/>
            <a:r>
              <a:rPr lang="de-DE" dirty="0"/>
              <a:t>2. Punkt</a:t>
            </a:r>
          </a:p>
        </p:txBody>
      </p:sp>
      <p:sp>
        <p:nvSpPr>
          <p:cNvPr id="23" name="Textplatzhalter 14"/>
          <p:cNvSpPr>
            <a:spLocks noGrp="1"/>
          </p:cNvSpPr>
          <p:nvPr>
            <p:ph type="body" sz="quarter" idx="21" hasCustomPrompt="1"/>
          </p:nvPr>
        </p:nvSpPr>
        <p:spPr bwMode="gray">
          <a:xfrm rot="5400000">
            <a:off x="7249111" y="-1898526"/>
            <a:ext cx="648951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0" tIns="0" bIns="1080000"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800" b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tabLst>
                <a:tab pos="8064000" algn="r"/>
              </a:tabLst>
              <a:defRPr/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5pPr>
            <a:lvl6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6pPr>
            <a:lvl7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7pPr>
            <a:lvl8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8pPr>
            <a:lvl9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9pPr>
          </a:lstStyle>
          <a:p>
            <a:pPr lvl="0"/>
            <a:r>
              <a:rPr lang="de-DE" dirty="0"/>
              <a:t>3. Punkt</a:t>
            </a:r>
          </a:p>
        </p:txBody>
      </p:sp>
      <p:sp>
        <p:nvSpPr>
          <p:cNvPr id="25" name="Textplatzhalter 14"/>
          <p:cNvSpPr>
            <a:spLocks noGrp="1"/>
          </p:cNvSpPr>
          <p:nvPr>
            <p:ph type="body" sz="quarter" idx="23" hasCustomPrompt="1"/>
          </p:nvPr>
        </p:nvSpPr>
        <p:spPr bwMode="gray">
          <a:xfrm rot="5400000">
            <a:off x="7249111" y="-1250526"/>
            <a:ext cx="648951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0" tIns="0" bIns="1080000"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800" b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tabLst>
                <a:tab pos="8064000" algn="r"/>
              </a:tabLst>
              <a:defRPr/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5pPr>
            <a:lvl6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6pPr>
            <a:lvl7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7pPr>
            <a:lvl8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8pPr>
            <a:lvl9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9pPr>
          </a:lstStyle>
          <a:p>
            <a:pPr lvl="0"/>
            <a:r>
              <a:rPr lang="de-DE" dirty="0"/>
              <a:t>4. Punkt</a:t>
            </a:r>
          </a:p>
        </p:txBody>
      </p:sp>
      <p:sp>
        <p:nvSpPr>
          <p:cNvPr id="27" name="Textplatzhalter 14"/>
          <p:cNvSpPr>
            <a:spLocks noGrp="1"/>
          </p:cNvSpPr>
          <p:nvPr>
            <p:ph type="body" sz="quarter" idx="25" hasCustomPrompt="1"/>
          </p:nvPr>
        </p:nvSpPr>
        <p:spPr bwMode="gray">
          <a:xfrm rot="5400000">
            <a:off x="7249111" y="-602526"/>
            <a:ext cx="648951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0" tIns="0" bIns="1080000"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800" b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tabLst>
                <a:tab pos="8064000" algn="r"/>
              </a:tabLst>
              <a:defRPr/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5pPr>
            <a:lvl6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6pPr>
            <a:lvl7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7pPr>
            <a:lvl8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8pPr>
            <a:lvl9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9pPr>
          </a:lstStyle>
          <a:p>
            <a:pPr lvl="0"/>
            <a:r>
              <a:rPr lang="de-DE" dirty="0"/>
              <a:t>5. Punkt</a:t>
            </a:r>
          </a:p>
        </p:txBody>
      </p:sp>
      <p:sp>
        <p:nvSpPr>
          <p:cNvPr id="29" name="Textplatzhalter 14"/>
          <p:cNvSpPr>
            <a:spLocks noGrp="1"/>
          </p:cNvSpPr>
          <p:nvPr>
            <p:ph type="body" sz="quarter" idx="27" hasCustomPrompt="1"/>
          </p:nvPr>
        </p:nvSpPr>
        <p:spPr bwMode="gray">
          <a:xfrm rot="5400000">
            <a:off x="7249111" y="45474"/>
            <a:ext cx="648951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0" tIns="0" bIns="1080000"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800" b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tabLst>
                <a:tab pos="8064000" algn="r"/>
              </a:tabLst>
              <a:defRPr/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5pPr>
            <a:lvl6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6pPr>
            <a:lvl7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7pPr>
            <a:lvl8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8pPr>
            <a:lvl9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9pPr>
          </a:lstStyle>
          <a:p>
            <a:pPr lvl="0"/>
            <a:r>
              <a:rPr lang="de-DE" dirty="0"/>
              <a:t>6. Punkt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89587" y="764999"/>
            <a:ext cx="1008000" cy="648951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1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1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3600" b="1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3600" b="1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3600" b="1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3600" b="1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3600" b="1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3600" b="1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3600" b="1"/>
            </a:lvl9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2928938" cy="5949950"/>
          </a:xfrm>
          <a:solidFill>
            <a:schemeClr val="bg2"/>
          </a:solidFill>
        </p:spPr>
        <p:txBody>
          <a:bodyPr vert="horz" lIns="342000" tIns="694800" rIns="216000" bIns="144000" anchor="t"/>
          <a:lstStyle>
            <a:lvl1pPr>
              <a:defRPr sz="44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289587" y="1412998"/>
            <a:ext cx="1008000" cy="648951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36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3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lang="de-DE" sz="3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lang="de-DE" sz="3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lang="de-DE" sz="3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lang="de-DE" sz="3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lang="de-DE" sz="3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lang="de-DE" sz="3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lang="de-DE" sz="3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289587" y="2060998"/>
            <a:ext cx="1008000" cy="648951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9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289587" y="2708998"/>
            <a:ext cx="1008000" cy="648951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9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6" name="Textplatzhalter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289587" y="3356998"/>
            <a:ext cx="1008000" cy="648951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9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289587" y="4004998"/>
            <a:ext cx="1008000" cy="648951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9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34" name="Datumsplatzhalter 33">
            <a:extLst>
              <a:ext uri="{FF2B5EF4-FFF2-40B4-BE49-F238E27FC236}">
                <a16:creationId xmlns:a16="http://schemas.microsoft.com/office/drawing/2014/main" id="{E933A47D-C0EC-4591-96B0-F2017D647B03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B4D82F24-4850-4051-9E27-AE215622381E}" type="datetime1">
              <a:rPr lang="de-DE" smtClean="0"/>
              <a:t>18.12.2024</a:t>
            </a:fld>
            <a:endParaRPr lang="de-DE" dirty="0"/>
          </a:p>
        </p:txBody>
      </p:sp>
      <p:sp>
        <p:nvSpPr>
          <p:cNvPr id="36" name="Foliennummernplatzhalter 35">
            <a:extLst>
              <a:ext uri="{FF2B5EF4-FFF2-40B4-BE49-F238E27FC236}">
                <a16:creationId xmlns:a16="http://schemas.microsoft.com/office/drawing/2014/main" id="{0EE968FB-CA12-480E-8B1E-50329602250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6AE7196E-F2F8-41B2-88D0-2B9E377B0D0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 rot="5400000">
            <a:off x="7249111" y="693474"/>
            <a:ext cx="648951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0" tIns="0" bIns="1080000"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800" b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tabLst>
                <a:tab pos="8064000" algn="r"/>
              </a:tabLst>
              <a:defRPr/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5pPr>
            <a:lvl6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6pPr>
            <a:lvl7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7pPr>
            <a:lvl8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8pPr>
            <a:lvl9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9pPr>
          </a:lstStyle>
          <a:p>
            <a:pPr lvl="0"/>
            <a:r>
              <a:rPr lang="de-DE" dirty="0"/>
              <a:t>7. Punkt</a:t>
            </a:r>
          </a:p>
        </p:txBody>
      </p:sp>
      <p:sp>
        <p:nvSpPr>
          <p:cNvPr id="30" name="Textplatzhalter 7">
            <a:extLst>
              <a:ext uri="{FF2B5EF4-FFF2-40B4-BE49-F238E27FC236}">
                <a16:creationId xmlns:a16="http://schemas.microsoft.com/office/drawing/2014/main" id="{C661F05B-6CEA-4E14-85A7-2B1DCDECFF8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289587" y="4652998"/>
            <a:ext cx="1008000" cy="648951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9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31" name="Textplatzhalter 14">
            <a:extLst>
              <a:ext uri="{FF2B5EF4-FFF2-40B4-BE49-F238E27FC236}">
                <a16:creationId xmlns:a16="http://schemas.microsoft.com/office/drawing/2014/main" id="{6994BD49-A04D-49BE-B81C-4D69860E2C9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 rot="5400000">
            <a:off x="7249111" y="1341474"/>
            <a:ext cx="648951" cy="8568000"/>
          </a:xfrm>
          <a:prstGeom prst="bracketPair">
            <a:avLst>
              <a:gd name="adj" fmla="val 0"/>
            </a:avLst>
          </a:prstGeom>
          <a:noFill/>
          <a:ln w="6350">
            <a:noFill/>
          </a:ln>
        </p:spPr>
        <p:txBody>
          <a:bodyPr vert="vert270" wrap="square" lIns="0" tIns="0" bIns="1080000" anchor="ctr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+mj-lt"/>
              <a:buNone/>
              <a:tabLst>
                <a:tab pos="8064000" algn="r"/>
              </a:tabLst>
              <a:defRPr sz="1800" b="0">
                <a:solidFill>
                  <a:srgbClr val="444B52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tabLst>
                <a:tab pos="8064000" algn="r"/>
              </a:tabLst>
              <a:defRPr/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5pPr>
            <a:lvl6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6pPr>
            <a:lvl7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7pPr>
            <a:lvl8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8pPr>
            <a:lvl9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tabLst>
                <a:tab pos="8064000" algn="r"/>
              </a:tabLst>
              <a:defRPr/>
            </a:lvl9pPr>
          </a:lstStyle>
          <a:p>
            <a:pPr lvl="0"/>
            <a:r>
              <a:rPr lang="de-DE" dirty="0"/>
              <a:t>8. Punkt</a:t>
            </a:r>
          </a:p>
        </p:txBody>
      </p:sp>
      <p:sp>
        <p:nvSpPr>
          <p:cNvPr id="32" name="Textplatzhalter 7">
            <a:extLst>
              <a:ext uri="{FF2B5EF4-FFF2-40B4-BE49-F238E27FC236}">
                <a16:creationId xmlns:a16="http://schemas.microsoft.com/office/drawing/2014/main" id="{12B96F28-EDEA-4C3E-87AD-D123A6EE5B1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289587" y="5300998"/>
            <a:ext cx="1008000" cy="648951"/>
          </a:xfrm>
          <a:noFill/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2pPr>
            <a:lvl3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3pPr>
            <a:lvl4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4pPr>
            <a:lvl5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5pPr>
            <a:lvl6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6pPr>
            <a:lvl7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7pPr>
            <a:lvl8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8pPr>
            <a:lvl9pPr marL="0" indent="0" algn="ctr">
              <a:spcBef>
                <a:spcPts val="0"/>
              </a:spcBef>
              <a:spcAft>
                <a:spcPts val="0"/>
              </a:spcAft>
              <a:buFontTx/>
              <a:buNone/>
              <a:defRPr sz="3600" b="1"/>
            </a:lvl9pPr>
          </a:lstStyle>
          <a:p>
            <a:pPr lvl="0"/>
            <a:r>
              <a:rPr lang="de-DE"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2172915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vmlDrawing" Target="../drawings/vmlDrawing1.vml"/><Relationship Id="rId55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ags" Target="../tags/tag4.xml"/><Relationship Id="rId58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2368151003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Folie" r:id="rId56" imgW="270" imgH="270" progId="TCLayout.ActiveDocument.1">
                  <p:embed/>
                </p:oleObj>
              </mc:Choice>
              <mc:Fallback>
                <p:oleObj name="think-cell Folie" r:id="rId5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36947" y="333000"/>
            <a:ext cx="11521280" cy="935760"/>
          </a:xfrm>
          <a:prstGeom prst="rect">
            <a:avLst/>
          </a:prstGeom>
        </p:spPr>
        <p:txBody>
          <a:bodyPr vert="horz" lIns="0" tIns="0" rIns="0" bIns="36000" rtlCol="0" anchor="b" anchorCtr="0">
            <a:noAutofit/>
          </a:bodyPr>
          <a:lstStyle/>
          <a:p>
            <a:r>
              <a:rPr lang="de-DE" dirty="0"/>
              <a:t>Titelformat durch Klicken bearbeiten</a:t>
            </a:r>
          </a:p>
        </p:txBody>
      </p:sp>
      <p:sp>
        <p:nvSpPr>
          <p:cNvPr id="4" name="VCT_Marker_ID_4" hidden="1"/>
          <p:cNvSpPr/>
          <p:nvPr>
            <p:custDataLst>
              <p:tags r:id="rId52"/>
            </p:custDataLst>
          </p:nvPr>
        </p:nvSpPr>
        <p:spPr bwMode="gray">
          <a:xfrm>
            <a:off x="1693775" y="127000"/>
            <a:ext cx="169377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rgbClr val="4D4D4D"/>
              </a:solidFill>
            </a:endParaRPr>
          </a:p>
        </p:txBody>
      </p:sp>
      <p:sp>
        <p:nvSpPr>
          <p:cNvPr id="16" name="Rechteck 15"/>
          <p:cNvSpPr/>
          <p:nvPr>
            <p:custDataLst>
              <p:tags r:id="rId53"/>
            </p:custDataLst>
          </p:nvPr>
        </p:nvSpPr>
        <p:spPr bwMode="gray">
          <a:xfrm>
            <a:off x="336947" y="6453352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18000" rtlCol="0" anchor="b" anchorCtr="0"/>
          <a:lstStyle/>
          <a:p>
            <a:pPr lvl="0">
              <a:lnSpc>
                <a:spcPct val="100000"/>
              </a:lnSpc>
            </a:pPr>
            <a:r>
              <a:rPr lang="de-DE" sz="800" dirty="0">
                <a:solidFill>
                  <a:srgbClr val="444B52"/>
                </a:solidFill>
              </a:rPr>
              <a:t>© Finanz Informatik 2021 </a:t>
            </a:r>
          </a:p>
        </p:txBody>
      </p:sp>
      <p:sp>
        <p:nvSpPr>
          <p:cNvPr id="6" name="VctContentArea_ID_6" hidden="1"/>
          <p:cNvSpPr/>
          <p:nvPr>
            <p:custDataLst>
              <p:tags r:id="rId54"/>
            </p:custDataLst>
          </p:nvPr>
        </p:nvSpPr>
        <p:spPr bwMode="gray">
          <a:xfrm>
            <a:off x="428525" y="1627277"/>
            <a:ext cx="11338125" cy="4325213"/>
          </a:xfrm>
          <a:prstGeom prst="rect">
            <a:avLst/>
          </a:prstGeom>
          <a:noFill/>
          <a:ln w="19050" cap="flat" cmpd="sng" algn="ctr">
            <a:solidFill>
              <a:srgbClr val="C80000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C86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rgbClr val="4D4D4D"/>
              </a:solidFill>
            </a:endParaRPr>
          </a:p>
        </p:txBody>
      </p:sp>
      <p:sp>
        <p:nvSpPr>
          <p:cNvPr id="2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5449587" y="6453352"/>
            <a:ext cx="64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6000" tIns="0" rIns="36000" bIns="18000" rtlCol="0" anchor="b" anchorCtr="0"/>
          <a:lstStyle>
            <a:lvl1pPr algn="r">
              <a:defRPr lang="de-DE" sz="800" smtClean="0">
                <a:solidFill>
                  <a:srgbClr val="444B52"/>
                </a:solidFill>
              </a:defRPr>
            </a:lvl1pPr>
          </a:lstStyle>
          <a:p>
            <a:fld id="{4CB8AAD8-CE5D-4DE5-840A-A933582D0D70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6097587" y="6453352"/>
            <a:ext cx="648072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36000" tIns="0" rIns="36000" bIns="18000" rtlCol="0" anchor="b" anchorCtr="0"/>
          <a:lstStyle>
            <a:lvl1pPr algn="l">
              <a:defRPr lang="de-DE" sz="800" dirty="0">
                <a:solidFill>
                  <a:srgbClr val="444B52"/>
                </a:solidFill>
              </a:defRPr>
            </a:lvl1pPr>
          </a:lstStyle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7" name="Picture 2"/>
          <p:cNvPicPr>
            <a:picLocks noChangeAspect="1" noChangeArrowheads="1"/>
          </p:cNvPicPr>
          <p:nvPr userDrawn="1">
            <p:custDataLst>
              <p:tags r:id="rId55"/>
            </p:custDataLst>
          </p:nvPr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160904" y="6327659"/>
            <a:ext cx="1697323" cy="274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69D50A5-715B-4050-9458-ED1C766405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6549" y="1628775"/>
            <a:ext cx="11522075" cy="432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6"/>
            <a:r>
              <a:rPr lang="de-DE" dirty="0"/>
              <a:t>7</a:t>
            </a:r>
          </a:p>
          <a:p>
            <a:pPr lvl="7"/>
            <a:r>
              <a:rPr lang="de-DE" dirty="0"/>
              <a:t>8</a:t>
            </a:r>
          </a:p>
          <a:p>
            <a:pPr lvl="8"/>
            <a:r>
              <a:rPr lang="de-DE" dirty="0"/>
              <a:t>9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76F3F9FF-0C4D-4E79-B590-9AE4C9BC3BF1}"/>
              </a:ext>
            </a:extLst>
          </p:cNvPr>
          <p:cNvGrpSpPr/>
          <p:nvPr userDrawn="1"/>
        </p:nvGrpSpPr>
        <p:grpSpPr>
          <a:xfrm>
            <a:off x="337587" y="-171000"/>
            <a:ext cx="11521038" cy="108000"/>
            <a:chOff x="337587" y="-171000"/>
            <a:chExt cx="11521038" cy="108000"/>
          </a:xfrm>
        </p:grpSpPr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E6243C72-7F6A-4AAB-910F-6ED8A05BCCC4}"/>
                </a:ext>
              </a:extLst>
            </p:cNvPr>
            <p:cNvSpPr/>
            <p:nvPr userDrawn="1"/>
          </p:nvSpPr>
          <p:spPr bwMode="gray">
            <a:xfrm flipH="1">
              <a:off x="3793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3</a:t>
              </a:r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A7EE31C3-ABFB-46AB-9999-5690B8450329}"/>
                </a:ext>
              </a:extLst>
            </p:cNvPr>
            <p:cNvSpPr/>
            <p:nvPr userDrawn="1"/>
          </p:nvSpPr>
          <p:spPr bwMode="gray">
            <a:xfrm flipH="1">
              <a:off x="4297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3</a:t>
              </a:r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66304B3E-A78A-4721-BF1B-057C71815096}"/>
                </a:ext>
              </a:extLst>
            </p:cNvPr>
            <p:cNvSpPr/>
            <p:nvPr userDrawn="1"/>
          </p:nvSpPr>
          <p:spPr bwMode="gray">
            <a:xfrm flipH="1">
              <a:off x="2785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4</a:t>
              </a:r>
            </a:p>
          </p:txBody>
        </p: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60B75FC9-BE34-44DF-812D-63334BE9E357}"/>
                </a:ext>
              </a:extLst>
            </p:cNvPr>
            <p:cNvCxnSpPr/>
            <p:nvPr userDrawn="1"/>
          </p:nvCxnSpPr>
          <p:spPr bwMode="gray">
            <a:xfrm>
              <a:off x="337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6D65023C-AF0F-493C-BD8B-B93821F223E0}"/>
                </a:ext>
              </a:extLst>
            </p:cNvPr>
            <p:cNvCxnSpPr/>
            <p:nvPr userDrawn="1"/>
          </p:nvCxnSpPr>
          <p:spPr bwMode="gray">
            <a:xfrm>
              <a:off x="2929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ED2F5895-8A62-4AFF-9113-C0584EC2C7BE}"/>
                </a:ext>
              </a:extLst>
            </p:cNvPr>
            <p:cNvSpPr/>
            <p:nvPr userDrawn="1"/>
          </p:nvSpPr>
          <p:spPr bwMode="gray">
            <a:xfrm flipH="1">
              <a:off x="3289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4</a:t>
              </a:r>
            </a:p>
          </p:txBody>
        </p: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314CAE51-B51B-4455-9EFD-EA400982A8CA}"/>
                </a:ext>
              </a:extLst>
            </p:cNvPr>
            <p:cNvCxnSpPr/>
            <p:nvPr userDrawn="1"/>
          </p:nvCxnSpPr>
          <p:spPr bwMode="gray">
            <a:xfrm>
              <a:off x="3289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752CCEC7-115A-4985-AD77-CF5EA0FF45C4}"/>
                </a:ext>
              </a:extLst>
            </p:cNvPr>
            <p:cNvSpPr/>
            <p:nvPr userDrawn="1"/>
          </p:nvSpPr>
          <p:spPr bwMode="gray">
            <a:xfrm flipH="1">
              <a:off x="8761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4</a:t>
              </a:r>
            </a:p>
          </p:txBody>
        </p: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A6398A26-974A-46DB-8140-C25B8E53245E}"/>
                </a:ext>
              </a:extLst>
            </p:cNvPr>
            <p:cNvCxnSpPr/>
            <p:nvPr userDrawn="1"/>
          </p:nvCxnSpPr>
          <p:spPr bwMode="gray">
            <a:xfrm>
              <a:off x="8905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117DC31E-4AF8-4B48-AB13-E0028D24DDE3}"/>
                </a:ext>
              </a:extLst>
            </p:cNvPr>
            <p:cNvSpPr/>
            <p:nvPr userDrawn="1"/>
          </p:nvSpPr>
          <p:spPr bwMode="gray">
            <a:xfrm flipH="1">
              <a:off x="9265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4</a:t>
              </a:r>
            </a:p>
          </p:txBody>
        </p:sp>
        <p:cxnSp>
          <p:nvCxnSpPr>
            <p:cNvPr id="45" name="Gerader Verbinder 44">
              <a:extLst>
                <a:ext uri="{FF2B5EF4-FFF2-40B4-BE49-F238E27FC236}">
                  <a16:creationId xmlns:a16="http://schemas.microsoft.com/office/drawing/2014/main" id="{10DBE172-429F-480C-BEAD-090E79F29065}"/>
                </a:ext>
              </a:extLst>
            </p:cNvPr>
            <p:cNvCxnSpPr/>
            <p:nvPr userDrawn="1"/>
          </p:nvCxnSpPr>
          <p:spPr bwMode="gray">
            <a:xfrm>
              <a:off x="9265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3C040243-E49C-4B4D-B5F7-D864E4F5D3DD}"/>
                </a:ext>
              </a:extLst>
            </p:cNvPr>
            <p:cNvCxnSpPr/>
            <p:nvPr userDrawn="1"/>
          </p:nvCxnSpPr>
          <p:spPr bwMode="gray">
            <a:xfrm>
              <a:off x="3937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FB4CB4CB-154E-4A80-AB87-4C85419CA165}"/>
                </a:ext>
              </a:extLst>
            </p:cNvPr>
            <p:cNvCxnSpPr/>
            <p:nvPr userDrawn="1"/>
          </p:nvCxnSpPr>
          <p:spPr bwMode="gray">
            <a:xfrm>
              <a:off x="4297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1158321E-8F60-4952-B1F8-D72A55104B7F}"/>
                </a:ext>
              </a:extLst>
            </p:cNvPr>
            <p:cNvSpPr/>
            <p:nvPr userDrawn="1"/>
          </p:nvSpPr>
          <p:spPr bwMode="gray">
            <a:xfrm flipH="1">
              <a:off x="7753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3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C9834B91-2C84-454C-9B70-E1683DF53773}"/>
                </a:ext>
              </a:extLst>
            </p:cNvPr>
            <p:cNvSpPr/>
            <p:nvPr userDrawn="1"/>
          </p:nvSpPr>
          <p:spPr bwMode="gray">
            <a:xfrm flipH="1">
              <a:off x="8257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3</a:t>
              </a:r>
            </a:p>
          </p:txBody>
        </p:sp>
        <p:cxnSp>
          <p:nvCxnSpPr>
            <p:cNvPr id="52" name="Gerader Verbinder 51">
              <a:extLst>
                <a:ext uri="{FF2B5EF4-FFF2-40B4-BE49-F238E27FC236}">
                  <a16:creationId xmlns:a16="http://schemas.microsoft.com/office/drawing/2014/main" id="{E5DE495D-49E3-49D4-AF6D-DA6323B48873}"/>
                </a:ext>
              </a:extLst>
            </p:cNvPr>
            <p:cNvCxnSpPr/>
            <p:nvPr userDrawn="1"/>
          </p:nvCxnSpPr>
          <p:spPr bwMode="gray">
            <a:xfrm>
              <a:off x="7897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4B2EA565-23EB-497D-9D43-F353549AAA41}"/>
                </a:ext>
              </a:extLst>
            </p:cNvPr>
            <p:cNvCxnSpPr/>
            <p:nvPr userDrawn="1"/>
          </p:nvCxnSpPr>
          <p:spPr bwMode="gray">
            <a:xfrm>
              <a:off x="8257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46BC1B06-1AFE-420C-80A7-C4FEA77FA4B6}"/>
                </a:ext>
              </a:extLst>
            </p:cNvPr>
            <p:cNvSpPr/>
            <p:nvPr userDrawn="1"/>
          </p:nvSpPr>
          <p:spPr bwMode="gray">
            <a:xfrm flipH="1">
              <a:off x="5737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r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2</a:t>
              </a:r>
            </a:p>
          </p:txBody>
        </p:sp>
        <p:cxnSp>
          <p:nvCxnSpPr>
            <p:cNvPr id="55" name="Gerader Verbinder 54">
              <a:extLst>
                <a:ext uri="{FF2B5EF4-FFF2-40B4-BE49-F238E27FC236}">
                  <a16:creationId xmlns:a16="http://schemas.microsoft.com/office/drawing/2014/main" id="{520D4A86-C8DE-4002-A054-705576BAF708}"/>
                </a:ext>
              </a:extLst>
            </p:cNvPr>
            <p:cNvCxnSpPr/>
            <p:nvPr userDrawn="1"/>
          </p:nvCxnSpPr>
          <p:spPr bwMode="gray">
            <a:xfrm>
              <a:off x="5881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8CEC4EB0-FE86-4009-94F1-CB61D5CCA92D}"/>
                </a:ext>
              </a:extLst>
            </p:cNvPr>
            <p:cNvSpPr/>
            <p:nvPr userDrawn="1"/>
          </p:nvSpPr>
          <p:spPr bwMode="gray">
            <a:xfrm flipH="1">
              <a:off x="6313587" y="-171000"/>
              <a:ext cx="144000" cy="10800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8000" tIns="0" rIns="18000" bIns="0" rtlCol="0" anchor="ctr"/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</a:pPr>
              <a:r>
                <a:rPr lang="de-DE" sz="700" dirty="0">
                  <a:solidFill>
                    <a:schemeClr val="bg2"/>
                  </a:solidFill>
                </a:rPr>
                <a:t>1/2</a:t>
              </a:r>
            </a:p>
          </p:txBody>
        </p:sp>
        <p:cxnSp>
          <p:nvCxnSpPr>
            <p:cNvPr id="57" name="Gerader Verbinder 56">
              <a:extLst>
                <a:ext uri="{FF2B5EF4-FFF2-40B4-BE49-F238E27FC236}">
                  <a16:creationId xmlns:a16="http://schemas.microsoft.com/office/drawing/2014/main" id="{276A7CBA-ED0D-423D-BF0F-AF010A040BE3}"/>
                </a:ext>
              </a:extLst>
            </p:cNvPr>
            <p:cNvCxnSpPr/>
            <p:nvPr userDrawn="1"/>
          </p:nvCxnSpPr>
          <p:spPr bwMode="gray">
            <a:xfrm>
              <a:off x="6313587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665736FD-7662-4A22-96B3-05EAA4269DB9}"/>
                </a:ext>
              </a:extLst>
            </p:cNvPr>
            <p:cNvCxnSpPr/>
            <p:nvPr userDrawn="1"/>
          </p:nvCxnSpPr>
          <p:spPr bwMode="gray">
            <a:xfrm>
              <a:off x="11858625" y="-171000"/>
              <a:ext cx="0" cy="10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14A9023D-30F4-4405-A4EC-EA9CF58E471B}"/>
              </a:ext>
            </a:extLst>
          </p:cNvPr>
          <p:cNvGrpSpPr/>
          <p:nvPr userDrawn="1"/>
        </p:nvGrpSpPr>
        <p:grpSpPr>
          <a:xfrm>
            <a:off x="-202413" y="1628775"/>
            <a:ext cx="108000" cy="4320225"/>
            <a:chOff x="-202413" y="1628775"/>
            <a:chExt cx="108000" cy="4320225"/>
          </a:xfrm>
        </p:grpSpPr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680E9A38-1FA6-4E4E-846C-C9C6FC441DA6}"/>
                </a:ext>
              </a:extLst>
            </p:cNvPr>
            <p:cNvCxnSpPr/>
            <p:nvPr userDrawn="1"/>
          </p:nvCxnSpPr>
          <p:spPr bwMode="gray">
            <a:xfrm>
              <a:off x="-202413" y="1628775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>
              <a:extLst>
                <a:ext uri="{FF2B5EF4-FFF2-40B4-BE49-F238E27FC236}">
                  <a16:creationId xmlns:a16="http://schemas.microsoft.com/office/drawing/2014/main" id="{6882E0B8-A655-41C2-99E4-CEB90A02F295}"/>
                </a:ext>
              </a:extLst>
            </p:cNvPr>
            <p:cNvCxnSpPr/>
            <p:nvPr userDrawn="1"/>
          </p:nvCxnSpPr>
          <p:spPr bwMode="gray">
            <a:xfrm>
              <a:off x="-202413" y="5949000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DE3107C7-32C0-444F-A0F8-D1D5EB20942C}"/>
              </a:ext>
            </a:extLst>
          </p:cNvPr>
          <p:cNvGrpSpPr/>
          <p:nvPr userDrawn="1"/>
        </p:nvGrpSpPr>
        <p:grpSpPr>
          <a:xfrm>
            <a:off x="12289587" y="1628775"/>
            <a:ext cx="108000" cy="4320225"/>
            <a:chOff x="-202413" y="1628775"/>
            <a:chExt cx="108000" cy="4320225"/>
          </a:xfrm>
        </p:grpSpPr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01AA49F1-5A89-4F1D-9661-941B3B711A80}"/>
                </a:ext>
              </a:extLst>
            </p:cNvPr>
            <p:cNvCxnSpPr/>
            <p:nvPr userDrawn="1"/>
          </p:nvCxnSpPr>
          <p:spPr bwMode="gray">
            <a:xfrm>
              <a:off x="-202413" y="1628775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55B05A22-7F66-449F-88EF-BF576441E476}"/>
                </a:ext>
              </a:extLst>
            </p:cNvPr>
            <p:cNvCxnSpPr/>
            <p:nvPr userDrawn="1"/>
          </p:nvCxnSpPr>
          <p:spPr bwMode="gray">
            <a:xfrm>
              <a:off x="-202413" y="5949000"/>
              <a:ext cx="108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Klassifizierung">
            <a:extLst>
              <a:ext uri="{FF2B5EF4-FFF2-40B4-BE49-F238E27FC236}">
                <a16:creationId xmlns:a16="http://schemas.microsoft.com/office/drawing/2014/main" id="{EB346E3E-2E94-4596-A072-1DF03F994980}"/>
              </a:ext>
            </a:extLst>
          </p:cNvPr>
          <p:cNvSpPr txBox="1"/>
          <p:nvPr userDrawn="1"/>
        </p:nvSpPr>
        <p:spPr bwMode="gray">
          <a:xfrm>
            <a:off x="1656000" y="6494400"/>
            <a:ext cx="2160000" cy="10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de-DE" sz="800" b="0" i="0" u="none" cap="none" noProof="0" dirty="0">
                <a:solidFill>
                  <a:srgbClr val="444B52"/>
                </a:solidFill>
                <a:latin typeface="Arial" panose="020B0604020202020204" pitchFamily="34" charset="0"/>
              </a:rPr>
              <a:t>Für den internen Gebrauch</a:t>
            </a:r>
          </a:p>
        </p:txBody>
      </p:sp>
    </p:spTree>
    <p:extLst>
      <p:ext uri="{BB962C8B-B14F-4D97-AF65-F5344CB8AC3E}">
        <p14:creationId xmlns:p14="http://schemas.microsoft.com/office/powerpoint/2010/main" val="3797767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79" r:id="rId2"/>
    <p:sldLayoutId id="2147483998" r:id="rId3"/>
    <p:sldLayoutId id="2147484000" r:id="rId4"/>
    <p:sldLayoutId id="2147484001" r:id="rId5"/>
    <p:sldLayoutId id="2147483891" r:id="rId6"/>
    <p:sldLayoutId id="2147484044" r:id="rId7"/>
    <p:sldLayoutId id="2147484022" r:id="rId8"/>
    <p:sldLayoutId id="2147484078" r:id="rId9"/>
    <p:sldLayoutId id="2147484082" r:id="rId10"/>
    <p:sldLayoutId id="2147484045" r:id="rId11"/>
    <p:sldLayoutId id="2147484040" r:id="rId12"/>
    <p:sldLayoutId id="2147483849" r:id="rId13"/>
    <p:sldLayoutId id="2147484077" r:id="rId14"/>
    <p:sldLayoutId id="2147484038" r:id="rId15"/>
    <p:sldLayoutId id="2147484051" r:id="rId16"/>
    <p:sldLayoutId id="2147484081" r:id="rId17"/>
    <p:sldLayoutId id="2147484039" r:id="rId18"/>
    <p:sldLayoutId id="2147484041" r:id="rId19"/>
    <p:sldLayoutId id="2147484034" r:id="rId20"/>
    <p:sldLayoutId id="2147484035" r:id="rId21"/>
    <p:sldLayoutId id="2147484047" r:id="rId22"/>
    <p:sldLayoutId id="2147484079" r:id="rId23"/>
    <p:sldLayoutId id="2147484049" r:id="rId24"/>
    <p:sldLayoutId id="2147484052" r:id="rId25"/>
    <p:sldLayoutId id="2147484055" r:id="rId26"/>
    <p:sldLayoutId id="2147484054" r:id="rId27"/>
    <p:sldLayoutId id="2147484056" r:id="rId28"/>
    <p:sldLayoutId id="2147484057" r:id="rId29"/>
    <p:sldLayoutId id="2147484058" r:id="rId30"/>
    <p:sldLayoutId id="2147484059" r:id="rId31"/>
    <p:sldLayoutId id="2147484060" r:id="rId32"/>
    <p:sldLayoutId id="2147484061" r:id="rId33"/>
    <p:sldLayoutId id="2147484062" r:id="rId34"/>
    <p:sldLayoutId id="2147484063" r:id="rId35"/>
    <p:sldLayoutId id="2147484065" r:id="rId36"/>
    <p:sldLayoutId id="2147484072" r:id="rId37"/>
    <p:sldLayoutId id="2147484073" r:id="rId38"/>
    <p:sldLayoutId id="2147484070" r:id="rId39"/>
    <p:sldLayoutId id="2147484067" r:id="rId40"/>
    <p:sldLayoutId id="2147484069" r:id="rId41"/>
    <p:sldLayoutId id="2147484083" r:id="rId42"/>
    <p:sldLayoutId id="2147484006" r:id="rId43"/>
    <p:sldLayoutId id="2147484036" r:id="rId44"/>
    <p:sldLayoutId id="2147484009" r:id="rId45"/>
    <p:sldLayoutId id="2147484074" r:id="rId46"/>
    <p:sldLayoutId id="2147484075" r:id="rId47"/>
    <p:sldLayoutId id="2147484076" r:id="rId48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tabLst>
          <a:tab pos="8064000" algn="r"/>
        </a:tabLst>
        <a:defRPr sz="2800" b="1" kern="1200">
          <a:solidFill>
            <a:srgbClr val="444B5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800"/>
        </a:spcBef>
        <a:spcAft>
          <a:spcPts val="400"/>
        </a:spcAft>
        <a:buFont typeface="Arial" pitchFamily="34" charset="0"/>
        <a:buNone/>
        <a:defRPr sz="2000" b="1" kern="1200">
          <a:solidFill>
            <a:srgbClr val="444B5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800"/>
        </a:spcBef>
        <a:spcAft>
          <a:spcPts val="400"/>
        </a:spcAft>
        <a:buFont typeface="Arial" pitchFamily="34" charset="0"/>
        <a:buNone/>
        <a:defRPr lang="de-DE" sz="1800" b="0" kern="1200" dirty="0">
          <a:solidFill>
            <a:srgbClr val="444B52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spcBef>
          <a:spcPts val="400"/>
        </a:spcBef>
        <a:spcAft>
          <a:spcPts val="200"/>
        </a:spcAft>
        <a:buFont typeface="Arial" panose="020B0604020202020204" pitchFamily="34" charset="0"/>
        <a:buChar char="•"/>
        <a:defRPr lang="de-DE" sz="1800" kern="1200" dirty="0">
          <a:solidFill>
            <a:srgbClr val="444B52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spcBef>
          <a:spcPts val="400"/>
        </a:spcBef>
        <a:spcAft>
          <a:spcPts val="200"/>
        </a:spcAft>
        <a:buClrTx/>
        <a:buFont typeface="Arial" panose="020B0604020202020204" pitchFamily="34" charset="0"/>
        <a:buChar char="-"/>
        <a:defRPr lang="de-DE" sz="1800" kern="1200" dirty="0">
          <a:solidFill>
            <a:srgbClr val="444B52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spcBef>
          <a:spcPts val="400"/>
        </a:spcBef>
        <a:spcAft>
          <a:spcPts val="200"/>
        </a:spcAft>
        <a:buFont typeface="Arial" pitchFamily="34" charset="0"/>
        <a:buChar char="-"/>
        <a:defRPr sz="1800" kern="1200">
          <a:solidFill>
            <a:srgbClr val="444B52"/>
          </a:solidFill>
          <a:latin typeface="+mn-lt"/>
          <a:ea typeface="+mn-ea"/>
          <a:cs typeface="+mn-cs"/>
        </a:defRPr>
      </a:lvl5pPr>
      <a:lvl6pPr marL="360000" indent="-180000" algn="l" defTabSz="914400" rtl="0" eaLnBrk="1" latinLnBrk="0" hangingPunct="1">
        <a:spcBef>
          <a:spcPts val="400"/>
        </a:spcBef>
        <a:spcAft>
          <a:spcPts val="200"/>
        </a:spcAft>
        <a:buFont typeface="Arial" pitchFamily="34" charset="0"/>
        <a:buChar char="-"/>
        <a:defRPr sz="1800" kern="1200" baseline="0">
          <a:solidFill>
            <a:srgbClr val="444B52"/>
          </a:solidFill>
          <a:latin typeface="+mn-lt"/>
          <a:ea typeface="+mn-ea"/>
          <a:cs typeface="+mn-cs"/>
        </a:defRPr>
      </a:lvl6pPr>
      <a:lvl7pPr marL="360000" indent="-180000" algn="l" defTabSz="914400" rtl="0" eaLnBrk="1" latinLnBrk="0" hangingPunct="1">
        <a:spcBef>
          <a:spcPts val="400"/>
        </a:spcBef>
        <a:spcAft>
          <a:spcPts val="200"/>
        </a:spcAft>
        <a:buFont typeface="Arial" pitchFamily="34" charset="0"/>
        <a:buChar char="-"/>
        <a:defRPr sz="1800" kern="1200" baseline="0">
          <a:solidFill>
            <a:srgbClr val="444B52"/>
          </a:solidFill>
          <a:latin typeface="+mn-lt"/>
          <a:ea typeface="+mn-ea"/>
          <a:cs typeface="+mn-cs"/>
        </a:defRPr>
      </a:lvl7pPr>
      <a:lvl8pPr marL="360000" indent="-180000" algn="l" defTabSz="914400" rtl="0" eaLnBrk="1" latinLnBrk="0" hangingPunct="1">
        <a:spcBef>
          <a:spcPts val="400"/>
        </a:spcBef>
        <a:spcAft>
          <a:spcPts val="200"/>
        </a:spcAft>
        <a:buFont typeface="Arial" pitchFamily="34" charset="0"/>
        <a:buChar char="-"/>
        <a:defRPr sz="1800" kern="1200" baseline="0">
          <a:solidFill>
            <a:srgbClr val="444B52"/>
          </a:solidFill>
          <a:latin typeface="+mn-lt"/>
          <a:ea typeface="+mn-ea"/>
          <a:cs typeface="+mn-cs"/>
        </a:defRPr>
      </a:lvl8pPr>
      <a:lvl9pPr marL="360000" indent="-180000" algn="l" defTabSz="914400" rtl="0" eaLnBrk="1" latinLnBrk="0" hangingPunct="1">
        <a:spcBef>
          <a:spcPts val="400"/>
        </a:spcBef>
        <a:spcAft>
          <a:spcPts val="200"/>
        </a:spcAft>
        <a:buFont typeface="Arial" pitchFamily="34" charset="0"/>
        <a:buChar char="-"/>
        <a:defRPr sz="1800" kern="1200" baseline="0">
          <a:solidFill>
            <a:srgbClr val="444B5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6" userDrawn="1">
          <p15:clr>
            <a:srgbClr val="F26B43"/>
          </p15:clr>
        </p15:guide>
        <p15:guide id="2" pos="212" userDrawn="1">
          <p15:clr>
            <a:srgbClr val="F26B43"/>
          </p15:clr>
        </p15:guide>
        <p15:guide id="3" orient="horz" pos="3748" userDrawn="1">
          <p15:clr>
            <a:srgbClr val="F26B43"/>
          </p15:clr>
        </p15:guide>
        <p15:guide id="4" pos="74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8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89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90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9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91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0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92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93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9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0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95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96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0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97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0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98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81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9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99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0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1.bin"/><Relationship Id="rId3" Type="http://schemas.openxmlformats.org/officeDocument/2006/relationships/tags" Target="../tags/tag101.xml"/><Relationship Id="rId7" Type="http://schemas.openxmlformats.org/officeDocument/2006/relationships/slideLayout" Target="../slideLayouts/slideLayout47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68.vml"/><Relationship Id="rId6" Type="http://schemas.openxmlformats.org/officeDocument/2006/relationships/tags" Target="../tags/tag104.xml"/><Relationship Id="rId5" Type="http://schemas.openxmlformats.org/officeDocument/2006/relationships/tags" Target="../tags/tag103.xml"/><Relationship Id="rId4" Type="http://schemas.openxmlformats.org/officeDocument/2006/relationships/tags" Target="../tags/tag102.xml"/><Relationship Id="rId9" Type="http://schemas.openxmlformats.org/officeDocument/2006/relationships/image" Target="../media/image3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18" Type="http://schemas.openxmlformats.org/officeDocument/2006/relationships/tags" Target="../tags/tag121.xml"/><Relationship Id="rId26" Type="http://schemas.openxmlformats.org/officeDocument/2006/relationships/tags" Target="../tags/tag129.xml"/><Relationship Id="rId39" Type="http://schemas.openxmlformats.org/officeDocument/2006/relationships/image" Target="../media/image18.jpeg"/><Relationship Id="rId3" Type="http://schemas.openxmlformats.org/officeDocument/2006/relationships/tags" Target="../tags/tag106.xml"/><Relationship Id="rId21" Type="http://schemas.openxmlformats.org/officeDocument/2006/relationships/tags" Target="../tags/tag124.xml"/><Relationship Id="rId34" Type="http://schemas.openxmlformats.org/officeDocument/2006/relationships/image" Target="../media/image13.png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tags" Target="../tags/tag120.xml"/><Relationship Id="rId25" Type="http://schemas.openxmlformats.org/officeDocument/2006/relationships/tags" Target="../tags/tag128.xml"/><Relationship Id="rId33" Type="http://schemas.openxmlformats.org/officeDocument/2006/relationships/image" Target="../media/image3.emf"/><Relationship Id="rId38" Type="http://schemas.openxmlformats.org/officeDocument/2006/relationships/image" Target="../media/image17.jpeg"/><Relationship Id="rId2" Type="http://schemas.openxmlformats.org/officeDocument/2006/relationships/tags" Target="../tags/tag105.xml"/><Relationship Id="rId16" Type="http://schemas.openxmlformats.org/officeDocument/2006/relationships/tags" Target="../tags/tag119.xml"/><Relationship Id="rId20" Type="http://schemas.openxmlformats.org/officeDocument/2006/relationships/tags" Target="../tags/tag123.xml"/><Relationship Id="rId29" Type="http://schemas.openxmlformats.org/officeDocument/2006/relationships/tags" Target="../tags/tag132.xml"/><Relationship Id="rId41" Type="http://schemas.openxmlformats.org/officeDocument/2006/relationships/image" Target="../media/image20.jpeg"/><Relationship Id="rId1" Type="http://schemas.openxmlformats.org/officeDocument/2006/relationships/vmlDrawing" Target="../drawings/vmlDrawing69.v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24" Type="http://schemas.openxmlformats.org/officeDocument/2006/relationships/tags" Target="../tags/tag127.xml"/><Relationship Id="rId32" Type="http://schemas.openxmlformats.org/officeDocument/2006/relationships/oleObject" Target="../embeddings/oleObject52.bin"/><Relationship Id="rId37" Type="http://schemas.openxmlformats.org/officeDocument/2006/relationships/image" Target="../media/image16.jpeg"/><Relationship Id="rId40" Type="http://schemas.openxmlformats.org/officeDocument/2006/relationships/image" Target="../media/image19.jpeg"/><Relationship Id="rId5" Type="http://schemas.openxmlformats.org/officeDocument/2006/relationships/tags" Target="../tags/tag108.xml"/><Relationship Id="rId15" Type="http://schemas.openxmlformats.org/officeDocument/2006/relationships/tags" Target="../tags/tag118.xml"/><Relationship Id="rId23" Type="http://schemas.openxmlformats.org/officeDocument/2006/relationships/tags" Target="../tags/tag126.xml"/><Relationship Id="rId28" Type="http://schemas.openxmlformats.org/officeDocument/2006/relationships/tags" Target="../tags/tag131.xml"/><Relationship Id="rId36" Type="http://schemas.openxmlformats.org/officeDocument/2006/relationships/image" Target="../media/image15.jpeg"/><Relationship Id="rId10" Type="http://schemas.openxmlformats.org/officeDocument/2006/relationships/tags" Target="../tags/tag113.xml"/><Relationship Id="rId19" Type="http://schemas.openxmlformats.org/officeDocument/2006/relationships/tags" Target="../tags/tag122.xml"/><Relationship Id="rId31" Type="http://schemas.openxmlformats.org/officeDocument/2006/relationships/slideLayout" Target="../slideLayouts/slideLayout13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tags" Target="../tags/tag117.xml"/><Relationship Id="rId22" Type="http://schemas.openxmlformats.org/officeDocument/2006/relationships/tags" Target="../tags/tag125.xml"/><Relationship Id="rId27" Type="http://schemas.openxmlformats.org/officeDocument/2006/relationships/tags" Target="../tags/tag130.xml"/><Relationship Id="rId30" Type="http://schemas.openxmlformats.org/officeDocument/2006/relationships/tags" Target="../tags/tag133.xml"/><Relationship Id="rId35" Type="http://schemas.openxmlformats.org/officeDocument/2006/relationships/image" Target="../media/image14.svg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145.xml"/><Relationship Id="rId18" Type="http://schemas.openxmlformats.org/officeDocument/2006/relationships/tags" Target="../tags/tag150.xml"/><Relationship Id="rId26" Type="http://schemas.openxmlformats.org/officeDocument/2006/relationships/tags" Target="../tags/tag158.xml"/><Relationship Id="rId39" Type="http://schemas.openxmlformats.org/officeDocument/2006/relationships/tags" Target="../tags/tag171.xml"/><Relationship Id="rId21" Type="http://schemas.openxmlformats.org/officeDocument/2006/relationships/tags" Target="../tags/tag153.xml"/><Relationship Id="rId34" Type="http://schemas.openxmlformats.org/officeDocument/2006/relationships/tags" Target="../tags/tag166.xml"/><Relationship Id="rId42" Type="http://schemas.openxmlformats.org/officeDocument/2006/relationships/tags" Target="../tags/tag174.xml"/><Relationship Id="rId47" Type="http://schemas.openxmlformats.org/officeDocument/2006/relationships/tags" Target="../tags/tag179.xml"/><Relationship Id="rId50" Type="http://schemas.openxmlformats.org/officeDocument/2006/relationships/tags" Target="../tags/tag182.xml"/><Relationship Id="rId55" Type="http://schemas.openxmlformats.org/officeDocument/2006/relationships/tags" Target="../tags/tag187.xml"/><Relationship Id="rId63" Type="http://schemas.openxmlformats.org/officeDocument/2006/relationships/tags" Target="../tags/tag195.xml"/><Relationship Id="rId68" Type="http://schemas.openxmlformats.org/officeDocument/2006/relationships/tags" Target="../tags/tag200.xml"/><Relationship Id="rId76" Type="http://schemas.openxmlformats.org/officeDocument/2006/relationships/tags" Target="../tags/tag208.xml"/><Relationship Id="rId84" Type="http://schemas.openxmlformats.org/officeDocument/2006/relationships/image" Target="../media/image8.emf"/><Relationship Id="rId89" Type="http://schemas.openxmlformats.org/officeDocument/2006/relationships/image" Target="../media/image24.svg"/><Relationship Id="rId7" Type="http://schemas.openxmlformats.org/officeDocument/2006/relationships/tags" Target="../tags/tag139.xml"/><Relationship Id="rId71" Type="http://schemas.openxmlformats.org/officeDocument/2006/relationships/tags" Target="../tags/tag203.xml"/><Relationship Id="rId2" Type="http://schemas.openxmlformats.org/officeDocument/2006/relationships/tags" Target="../tags/tag134.xml"/><Relationship Id="rId16" Type="http://schemas.openxmlformats.org/officeDocument/2006/relationships/tags" Target="../tags/tag148.xml"/><Relationship Id="rId29" Type="http://schemas.openxmlformats.org/officeDocument/2006/relationships/tags" Target="../tags/tag161.xml"/><Relationship Id="rId11" Type="http://schemas.openxmlformats.org/officeDocument/2006/relationships/tags" Target="../tags/tag143.xml"/><Relationship Id="rId24" Type="http://schemas.openxmlformats.org/officeDocument/2006/relationships/tags" Target="../tags/tag156.xml"/><Relationship Id="rId32" Type="http://schemas.openxmlformats.org/officeDocument/2006/relationships/tags" Target="../tags/tag164.xml"/><Relationship Id="rId37" Type="http://schemas.openxmlformats.org/officeDocument/2006/relationships/tags" Target="../tags/tag169.xml"/><Relationship Id="rId40" Type="http://schemas.openxmlformats.org/officeDocument/2006/relationships/tags" Target="../tags/tag172.xml"/><Relationship Id="rId45" Type="http://schemas.openxmlformats.org/officeDocument/2006/relationships/tags" Target="../tags/tag177.xml"/><Relationship Id="rId53" Type="http://schemas.openxmlformats.org/officeDocument/2006/relationships/tags" Target="../tags/tag185.xml"/><Relationship Id="rId58" Type="http://schemas.openxmlformats.org/officeDocument/2006/relationships/tags" Target="../tags/tag190.xml"/><Relationship Id="rId66" Type="http://schemas.openxmlformats.org/officeDocument/2006/relationships/tags" Target="../tags/tag198.xml"/><Relationship Id="rId74" Type="http://schemas.openxmlformats.org/officeDocument/2006/relationships/tags" Target="../tags/tag206.xml"/><Relationship Id="rId79" Type="http://schemas.openxmlformats.org/officeDocument/2006/relationships/tags" Target="../tags/tag211.xml"/><Relationship Id="rId87" Type="http://schemas.openxmlformats.org/officeDocument/2006/relationships/image" Target="../media/image22.svg"/><Relationship Id="rId5" Type="http://schemas.openxmlformats.org/officeDocument/2006/relationships/tags" Target="../tags/tag137.xml"/><Relationship Id="rId61" Type="http://schemas.openxmlformats.org/officeDocument/2006/relationships/tags" Target="../tags/tag193.xml"/><Relationship Id="rId82" Type="http://schemas.openxmlformats.org/officeDocument/2006/relationships/slideLayout" Target="../slideLayouts/slideLayout12.xml"/><Relationship Id="rId90" Type="http://schemas.openxmlformats.org/officeDocument/2006/relationships/hyperlink" Target="Link" TargetMode="External"/><Relationship Id="rId19" Type="http://schemas.openxmlformats.org/officeDocument/2006/relationships/tags" Target="../tags/tag151.xml"/><Relationship Id="rId14" Type="http://schemas.openxmlformats.org/officeDocument/2006/relationships/tags" Target="../tags/tag146.xml"/><Relationship Id="rId22" Type="http://schemas.openxmlformats.org/officeDocument/2006/relationships/tags" Target="../tags/tag154.xml"/><Relationship Id="rId27" Type="http://schemas.openxmlformats.org/officeDocument/2006/relationships/tags" Target="../tags/tag159.xml"/><Relationship Id="rId30" Type="http://schemas.openxmlformats.org/officeDocument/2006/relationships/tags" Target="../tags/tag162.xml"/><Relationship Id="rId35" Type="http://schemas.openxmlformats.org/officeDocument/2006/relationships/tags" Target="../tags/tag167.xml"/><Relationship Id="rId43" Type="http://schemas.openxmlformats.org/officeDocument/2006/relationships/tags" Target="../tags/tag175.xml"/><Relationship Id="rId48" Type="http://schemas.openxmlformats.org/officeDocument/2006/relationships/tags" Target="../tags/tag180.xml"/><Relationship Id="rId56" Type="http://schemas.openxmlformats.org/officeDocument/2006/relationships/tags" Target="../tags/tag188.xml"/><Relationship Id="rId64" Type="http://schemas.openxmlformats.org/officeDocument/2006/relationships/tags" Target="../tags/tag196.xml"/><Relationship Id="rId69" Type="http://schemas.openxmlformats.org/officeDocument/2006/relationships/tags" Target="../tags/tag201.xml"/><Relationship Id="rId77" Type="http://schemas.openxmlformats.org/officeDocument/2006/relationships/tags" Target="../tags/tag209.xml"/><Relationship Id="rId8" Type="http://schemas.openxmlformats.org/officeDocument/2006/relationships/tags" Target="../tags/tag140.xml"/><Relationship Id="rId51" Type="http://schemas.openxmlformats.org/officeDocument/2006/relationships/tags" Target="../tags/tag183.xml"/><Relationship Id="rId72" Type="http://schemas.openxmlformats.org/officeDocument/2006/relationships/tags" Target="../tags/tag204.xml"/><Relationship Id="rId80" Type="http://schemas.openxmlformats.org/officeDocument/2006/relationships/tags" Target="../tags/tag212.xml"/><Relationship Id="rId85" Type="http://schemas.openxmlformats.org/officeDocument/2006/relationships/image" Target="../media/image2.emf"/><Relationship Id="rId3" Type="http://schemas.openxmlformats.org/officeDocument/2006/relationships/tags" Target="../tags/tag135.xml"/><Relationship Id="rId12" Type="http://schemas.openxmlformats.org/officeDocument/2006/relationships/tags" Target="../tags/tag144.xml"/><Relationship Id="rId17" Type="http://schemas.openxmlformats.org/officeDocument/2006/relationships/tags" Target="../tags/tag149.xml"/><Relationship Id="rId25" Type="http://schemas.openxmlformats.org/officeDocument/2006/relationships/tags" Target="../tags/tag157.xml"/><Relationship Id="rId33" Type="http://schemas.openxmlformats.org/officeDocument/2006/relationships/tags" Target="../tags/tag165.xml"/><Relationship Id="rId38" Type="http://schemas.openxmlformats.org/officeDocument/2006/relationships/tags" Target="../tags/tag170.xml"/><Relationship Id="rId46" Type="http://schemas.openxmlformats.org/officeDocument/2006/relationships/tags" Target="../tags/tag178.xml"/><Relationship Id="rId59" Type="http://schemas.openxmlformats.org/officeDocument/2006/relationships/tags" Target="../tags/tag191.xml"/><Relationship Id="rId67" Type="http://schemas.openxmlformats.org/officeDocument/2006/relationships/tags" Target="../tags/tag199.xml"/><Relationship Id="rId20" Type="http://schemas.openxmlformats.org/officeDocument/2006/relationships/tags" Target="../tags/tag152.xml"/><Relationship Id="rId41" Type="http://schemas.openxmlformats.org/officeDocument/2006/relationships/tags" Target="../tags/tag173.xml"/><Relationship Id="rId54" Type="http://schemas.openxmlformats.org/officeDocument/2006/relationships/tags" Target="../tags/tag186.xml"/><Relationship Id="rId62" Type="http://schemas.openxmlformats.org/officeDocument/2006/relationships/tags" Target="../tags/tag194.xml"/><Relationship Id="rId70" Type="http://schemas.openxmlformats.org/officeDocument/2006/relationships/tags" Target="../tags/tag202.xml"/><Relationship Id="rId75" Type="http://schemas.openxmlformats.org/officeDocument/2006/relationships/tags" Target="../tags/tag207.xml"/><Relationship Id="rId83" Type="http://schemas.openxmlformats.org/officeDocument/2006/relationships/oleObject" Target="../embeddings/oleObject53.bin"/><Relationship Id="rId88" Type="http://schemas.openxmlformats.org/officeDocument/2006/relationships/image" Target="../media/image23.png"/><Relationship Id="rId91" Type="http://schemas.openxmlformats.org/officeDocument/2006/relationships/image" Target="../media/image25.png"/><Relationship Id="rId1" Type="http://schemas.openxmlformats.org/officeDocument/2006/relationships/vmlDrawing" Target="../drawings/vmlDrawing70.vml"/><Relationship Id="rId6" Type="http://schemas.openxmlformats.org/officeDocument/2006/relationships/tags" Target="../tags/tag138.xml"/><Relationship Id="rId15" Type="http://schemas.openxmlformats.org/officeDocument/2006/relationships/tags" Target="../tags/tag147.xml"/><Relationship Id="rId23" Type="http://schemas.openxmlformats.org/officeDocument/2006/relationships/tags" Target="../tags/tag155.xml"/><Relationship Id="rId28" Type="http://schemas.openxmlformats.org/officeDocument/2006/relationships/tags" Target="../tags/tag160.xml"/><Relationship Id="rId36" Type="http://schemas.openxmlformats.org/officeDocument/2006/relationships/tags" Target="../tags/tag168.xml"/><Relationship Id="rId49" Type="http://schemas.openxmlformats.org/officeDocument/2006/relationships/tags" Target="../tags/tag181.xml"/><Relationship Id="rId57" Type="http://schemas.openxmlformats.org/officeDocument/2006/relationships/tags" Target="../tags/tag189.xml"/><Relationship Id="rId10" Type="http://schemas.openxmlformats.org/officeDocument/2006/relationships/tags" Target="../tags/tag142.xml"/><Relationship Id="rId31" Type="http://schemas.openxmlformats.org/officeDocument/2006/relationships/tags" Target="../tags/tag163.xml"/><Relationship Id="rId44" Type="http://schemas.openxmlformats.org/officeDocument/2006/relationships/tags" Target="../tags/tag176.xml"/><Relationship Id="rId52" Type="http://schemas.openxmlformats.org/officeDocument/2006/relationships/tags" Target="../tags/tag184.xml"/><Relationship Id="rId60" Type="http://schemas.openxmlformats.org/officeDocument/2006/relationships/tags" Target="../tags/tag192.xml"/><Relationship Id="rId65" Type="http://schemas.openxmlformats.org/officeDocument/2006/relationships/tags" Target="../tags/tag197.xml"/><Relationship Id="rId73" Type="http://schemas.openxmlformats.org/officeDocument/2006/relationships/tags" Target="../tags/tag205.xml"/><Relationship Id="rId78" Type="http://schemas.openxmlformats.org/officeDocument/2006/relationships/tags" Target="../tags/tag210.xml"/><Relationship Id="rId81" Type="http://schemas.openxmlformats.org/officeDocument/2006/relationships/tags" Target="../tags/tag213.xml"/><Relationship Id="rId86" Type="http://schemas.openxmlformats.org/officeDocument/2006/relationships/image" Target="../media/image21.png"/><Relationship Id="rId4" Type="http://schemas.openxmlformats.org/officeDocument/2006/relationships/tags" Target="../tags/tag136.xml"/><Relationship Id="rId9" Type="http://schemas.openxmlformats.org/officeDocument/2006/relationships/tags" Target="../tags/tag14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18" Type="http://schemas.openxmlformats.org/officeDocument/2006/relationships/tags" Target="../tags/tag230.xml"/><Relationship Id="rId3" Type="http://schemas.openxmlformats.org/officeDocument/2006/relationships/tags" Target="../tags/tag215.xml"/><Relationship Id="rId21" Type="http://schemas.openxmlformats.org/officeDocument/2006/relationships/oleObject" Target="../embeddings/oleObject54.bin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tags" Target="../tags/tag229.xml"/><Relationship Id="rId2" Type="http://schemas.openxmlformats.org/officeDocument/2006/relationships/tags" Target="../tags/tag214.xml"/><Relationship Id="rId16" Type="http://schemas.openxmlformats.org/officeDocument/2006/relationships/tags" Target="../tags/tag228.xml"/><Relationship Id="rId20" Type="http://schemas.openxmlformats.org/officeDocument/2006/relationships/slideLayout" Target="../slideLayouts/slideLayout12.xml"/><Relationship Id="rId1" Type="http://schemas.openxmlformats.org/officeDocument/2006/relationships/vmlDrawing" Target="../drawings/vmlDrawing71.v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5" Type="http://schemas.openxmlformats.org/officeDocument/2006/relationships/tags" Target="../tags/tag217.xml"/><Relationship Id="rId15" Type="http://schemas.openxmlformats.org/officeDocument/2006/relationships/tags" Target="../tags/tag227.xml"/><Relationship Id="rId10" Type="http://schemas.openxmlformats.org/officeDocument/2006/relationships/tags" Target="../tags/tag222.xml"/><Relationship Id="rId19" Type="http://schemas.openxmlformats.org/officeDocument/2006/relationships/tags" Target="../tags/tag231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Relationship Id="rId22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82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83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84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85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86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87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88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1333791-C002-4F6E-8EF6-5C76433856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0383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4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1333791-C002-4F6E-8EF6-5C76433856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A6B259C0-3CEC-41E3-B784-70BEAA2C8F1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Lernstunde </a:t>
            </a:r>
            <a:r>
              <a:rPr lang="de-DE" dirty="0" err="1"/>
              <a:t>Hazelcast</a:t>
            </a:r>
            <a:endParaRPr lang="de-DE" dirty="0"/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96FB6808-0FF8-4F0D-91A6-77953793063F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/>
              <a:t>„Was ist </a:t>
            </a:r>
            <a:r>
              <a:rPr lang="de-DE" dirty="0" err="1"/>
              <a:t>Hazelcast</a:t>
            </a:r>
            <a:r>
              <a:rPr lang="de-DE" dirty="0"/>
              <a:t> und wenn ja, wie viele?“</a:t>
            </a:r>
          </a:p>
        </p:txBody>
      </p:sp>
    </p:spTree>
    <p:extLst>
      <p:ext uri="{BB962C8B-B14F-4D97-AF65-F5344CB8AC3E}">
        <p14:creationId xmlns:p14="http://schemas.microsoft.com/office/powerpoint/2010/main" val="923755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33A6393-7CA5-4AD9-9A48-86279DD86D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7" name="think-cell Folie" r:id="rId4" imgW="235" imgH="235" progId="TCLayout.ActiveDocument.1">
                  <p:embed/>
                </p:oleObj>
              </mc:Choice>
              <mc:Fallback>
                <p:oleObj name="think-cell Folie" r:id="rId4" imgW="235" imgH="23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33A6393-7CA5-4AD9-9A48-86279DD86D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05E9871-0242-4AE7-8019-CD3D9BE0D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rtitionierung (III): Vorgehen und Partitionstabel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76FC46-BD03-49DF-9503-6E3102ECAC72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dirty="0"/>
              <a:t>Verteilung von Daten in Partitionen anhand eines </a:t>
            </a:r>
            <a:r>
              <a:rPr lang="de-DE" sz="1600" b="0" dirty="0" err="1"/>
              <a:t>Hashing</a:t>
            </a:r>
            <a:r>
              <a:rPr lang="de-DE" sz="1600" b="0" dirty="0"/>
              <a:t>-Algorithmus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sz="1600" dirty="0"/>
              <a:t>Schlüssel (bei </a:t>
            </a:r>
            <a:r>
              <a:rPr lang="de-DE" sz="1600" dirty="0" err="1"/>
              <a:t>Maps</a:t>
            </a:r>
            <a:r>
              <a:rPr lang="de-DE" sz="1600" dirty="0"/>
              <a:t>) oder Objektname (bei Topics und Lists) wird in Byte-Array </a:t>
            </a:r>
            <a:r>
              <a:rPr lang="de-DE" sz="1600" dirty="0" err="1"/>
              <a:t>serialisiert</a:t>
            </a:r>
            <a:endParaRPr lang="de-DE" sz="1600" dirty="0"/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sz="1600" dirty="0"/>
              <a:t>Berechnung des Hash-Wertes über das Byte-Array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sz="1600" dirty="0"/>
              <a:t>ID der Zielpartition ist Ergebnis von </a:t>
            </a:r>
            <a:r>
              <a:rPr lang="de-DE" sz="1600" i="1" dirty="0" err="1"/>
              <a:t>modulo</a:t>
            </a:r>
            <a:r>
              <a:rPr lang="de-DE" sz="1600" i="1" dirty="0"/>
              <a:t>(Hash-Wert, n(Partitionen))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sz="1600" dirty="0"/>
              <a:t>Daraus folgt, dass Partitions-IDs für gegebenen Schlüssel immer gleich sind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de-DE" sz="1600" dirty="0"/>
              <a:t>Partitionstabelle 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sz="1600" dirty="0"/>
              <a:t>Speichert Mapping zwischen Partitions-IDs und Adressen der die jeweilige Partition besitzenden Member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sz="1600" dirty="0"/>
              <a:t>Alle Cluster-Member erhalten Kopie der Tabelle, wissen also stets, wo welche Partition (und folglich: wo welcher Schlüssel) zu finden ist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sz="1600" dirty="0"/>
              <a:t>Erster Cluster-Member wird Master, der Partitionstabelle anlegt – später hinzugefügte Member erhalten Kopie der Partitionstabelle sowie periodisch Updates</a:t>
            </a:r>
          </a:p>
          <a:p>
            <a:pPr lvl="1"/>
            <a:endParaRPr lang="de-DE" sz="160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0A00332-2690-4FFA-B1EE-2C052B99190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9F1A65C-91C9-4C04-898A-58F58FAED912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32702AF-6838-404C-B238-7E8A28C1DF43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E125532-3037-4317-8DFE-8465C03CE65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l"/>
            <a:r>
              <a:rPr lang="de-DE"/>
              <a:t>Seite </a:t>
            </a:r>
            <a:fld id="{DC907883-A228-4E41-A7BF-33DDF6A01B2A}" type="slidenum">
              <a:rPr lang="de-DE" smtClean="0"/>
              <a:pPr algn="l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2794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5B5AF9E1-A4D8-4419-94B0-9CEC5CBFAF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9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17" name="Objekt 16" hidden="1">
                        <a:extLst>
                          <a:ext uri="{FF2B5EF4-FFF2-40B4-BE49-F238E27FC236}">
                            <a16:creationId xmlns:a16="http://schemas.microsoft.com/office/drawing/2014/main" id="{5B5AF9E1-A4D8-4419-94B0-9CEC5CBFA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7C68F71-09F5-490B-A97D-568CD46714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dirty="0"/>
              <a:t>Einführung </a:t>
            </a:r>
            <a:r>
              <a:rPr lang="de-DE" dirty="0" err="1"/>
              <a:t>Hazelcas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D53B2BD-C648-44B3-B809-AFEF9AB1BC6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 err="1"/>
              <a:t>Deployment</a:t>
            </a:r>
            <a:r>
              <a:rPr lang="de-DE" dirty="0"/>
              <a:t>-Topologi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7F5EE19-6316-4E6B-95C6-95D8A90E4CE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Partitionieru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3CA1B73-ADA7-42E0-A42E-4D44341550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b="1" dirty="0"/>
              <a:t>IMap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1FA763A-2AED-4E1D-B8A2-9818910900C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 err="1"/>
              <a:t>Hazelcast</a:t>
            </a:r>
            <a:r>
              <a:rPr lang="de-DE" dirty="0"/>
              <a:t> bei der FI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3813903-45F2-4B14-8716-B64E89A337A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Hands-On </a:t>
            </a:r>
            <a:r>
              <a:rPr lang="de-DE" dirty="0" err="1"/>
              <a:t>Hazelcast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E99DCBA-5036-4AFF-BD92-6DE7FA6B68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986D9D2F-AC42-477E-8668-62FA1A13581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20AA7B-D798-493B-AFAE-930E3E74FFC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12B742-39DF-4D43-8C4D-7C882CDB00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9E48AB2-B30A-4DB8-895E-D34AC5CDBED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489BCE4-90C1-4E10-B7B8-54380A93A0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85FB968-B271-4AA2-93BA-C0170C4A84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6</a:t>
            </a:r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C736B547-8D57-4384-989C-56C4016332CC}"/>
              </a:ext>
            </a:extLst>
          </p:cNvPr>
          <p:cNvSpPr>
            <a:spLocks noGrp="1"/>
          </p:cNvSpPr>
          <p:nvPr>
            <p:ph type="dt" sz="half" idx="28"/>
          </p:nvPr>
        </p:nvSpPr>
        <p:spPr bwMode="gray"/>
        <p:txBody>
          <a:bodyPr/>
          <a:lstStyle/>
          <a:p>
            <a:fld id="{350E4AE0-D406-445D-B6A6-8E4DB1E786F1}" type="datetime1">
              <a:rPr lang="de-DE" smtClean="0"/>
              <a:t>18.12.2024</a:t>
            </a:fld>
            <a:endParaRPr lang="de-DE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F96FA1EC-C508-4D72-9DA1-0EB4695DE6B8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58604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33A6393-7CA5-4AD9-9A48-86279DD86D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9" name="think-cell Folie" r:id="rId4" imgW="235" imgH="235" progId="TCLayout.ActiveDocument.1">
                  <p:embed/>
                </p:oleObj>
              </mc:Choice>
              <mc:Fallback>
                <p:oleObj name="think-cell Folie" r:id="rId4" imgW="235" imgH="23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33A6393-7CA5-4AD9-9A48-86279DD86D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05E9871-0242-4AE7-8019-CD3D9BE0D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ap (I): Entry-Verteilung und Backup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76FC46-BD03-49DF-9503-6E3102ECAC72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i="1" dirty="0"/>
              <a:t>IMap</a:t>
            </a:r>
            <a:r>
              <a:rPr lang="de-DE" sz="1600" b="0" dirty="0"/>
              <a:t> hier im Detail behandelt, weil am häufigsten genutzte und somit wichtigste Datenstruktu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b="0" dirty="0"/>
              <a:t>Dank Partitionierung verteilt </a:t>
            </a:r>
            <a:r>
              <a:rPr lang="de-DE" sz="1600" b="0" dirty="0" err="1"/>
              <a:t>Hazelcast</a:t>
            </a:r>
            <a:r>
              <a:rPr lang="de-DE" sz="1600" b="0" dirty="0"/>
              <a:t> Gesamtmenge der </a:t>
            </a:r>
            <a:r>
              <a:rPr lang="de-DE" sz="1600" b="0" dirty="0" err="1"/>
              <a:t>Map</a:t>
            </a:r>
            <a:r>
              <a:rPr lang="de-DE" sz="1600" b="0" dirty="0"/>
              <a:t>-Einträge so gleichmäßig wie möglich über Member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sz="1600" dirty="0"/>
              <a:t>Anzahl </a:t>
            </a:r>
            <a:r>
              <a:rPr lang="de-DE" sz="1600" dirty="0" err="1"/>
              <a:t>Map</a:t>
            </a:r>
            <a:r>
              <a:rPr lang="de-DE" sz="1600" dirty="0"/>
              <a:t>-Einträge für jeden Cluster-Member ungefähr </a:t>
            </a:r>
            <a:r>
              <a:rPr lang="de-DE" sz="1600" i="1" dirty="0"/>
              <a:t>n(Einträge gesamt) * 2 * 1/n</a:t>
            </a:r>
            <a:r>
              <a:rPr lang="de-DE" sz="1600" dirty="0"/>
              <a:t> (</a:t>
            </a:r>
            <a:r>
              <a:rPr lang="de-DE" sz="1600" i="1" dirty="0"/>
              <a:t>n</a:t>
            </a:r>
            <a:r>
              <a:rPr lang="de-DE" sz="1600" dirty="0"/>
              <a:t>=Anzahl Cluster-Member)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sz="1600" dirty="0"/>
              <a:t>Beispiel: Bei 10.000 Einträgen und 10 </a:t>
            </a:r>
            <a:r>
              <a:rPr lang="de-DE" sz="1600" dirty="0" err="1"/>
              <a:t>Membern</a:t>
            </a:r>
            <a:r>
              <a:rPr lang="de-DE" sz="1600" dirty="0"/>
              <a:t>: 2000 Einträge je Member, davon bei Backup-Count=1 1000 Primary- und 1000-Backup-Einträge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de-DE" sz="1600" dirty="0"/>
              <a:t>Zwei Arten von Backups: </a:t>
            </a:r>
            <a:r>
              <a:rPr lang="de-DE" sz="1600" i="1" dirty="0" err="1"/>
              <a:t>sync</a:t>
            </a:r>
            <a:r>
              <a:rPr lang="de-DE" sz="1600" dirty="0"/>
              <a:t> und </a:t>
            </a:r>
            <a:r>
              <a:rPr lang="de-DE" sz="1600" i="1" dirty="0" err="1"/>
              <a:t>async</a:t>
            </a:r>
            <a:endParaRPr lang="de-DE" sz="1600" i="1" dirty="0"/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sz="1600" i="1" dirty="0" err="1"/>
              <a:t>sync</a:t>
            </a:r>
            <a:r>
              <a:rPr lang="de-DE" sz="1600" i="1" dirty="0"/>
              <a:t> </a:t>
            </a:r>
            <a:r>
              <a:rPr lang="de-DE" sz="1600" dirty="0"/>
              <a:t>(Default): Backup-Operationen blockieren bis zur erfolgreichen Anfertigung aller Backups (Achtung: Dauer steigt mit Backup-Zahl)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sz="1600" i="1" dirty="0" err="1"/>
              <a:t>async</a:t>
            </a:r>
            <a:r>
              <a:rPr lang="de-DE" sz="1600" dirty="0"/>
              <a:t>: „</a:t>
            </a:r>
            <a:r>
              <a:rPr lang="de-DE" sz="1600" dirty="0" err="1"/>
              <a:t>Fire</a:t>
            </a:r>
            <a:r>
              <a:rPr lang="de-DE" sz="1600" dirty="0"/>
              <a:t>-</a:t>
            </a:r>
            <a:r>
              <a:rPr lang="de-DE" sz="1600" dirty="0" err="1"/>
              <a:t>And</a:t>
            </a:r>
            <a:r>
              <a:rPr lang="de-DE" sz="1600" dirty="0"/>
              <a:t>-Forget“-Operation – Aufrufer wartet nicht auf Erfolg der Backup-Erzeugung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de-DE" sz="1600" dirty="0"/>
              <a:t>Backup-Reads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sz="1600" dirty="0"/>
              <a:t>Bei Backup-Count &gt; 0 trägt jeder Member nicht nur eigene Primaries, sondern auch Backups anderer Member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sz="1600" dirty="0"/>
              <a:t>Zur Performance-Erhöhung können </a:t>
            </a:r>
            <a:r>
              <a:rPr lang="de-DE" sz="1600" i="1" dirty="0"/>
              <a:t>Backup-Reads </a:t>
            </a:r>
            <a:r>
              <a:rPr lang="de-DE" sz="1600" dirty="0"/>
              <a:t>aktiviert werden – Wert darf auf aktuellem Member auch dann gelesen werden, wenn Schlüssel ein Backup ist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sz="1600" dirty="0"/>
              <a:t>Achtung: Gefahr für Inkonsistenzen!</a:t>
            </a:r>
          </a:p>
          <a:p>
            <a:pPr marL="522900" lvl="2" indent="-342900"/>
            <a:endParaRPr lang="de-DE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600" b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9F1A65C-91C9-4C04-898A-58F58FAED912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32702AF-6838-404C-B238-7E8A28C1DF43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E125532-3037-4317-8DFE-8465C03CE65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l"/>
            <a:r>
              <a:rPr lang="de-DE"/>
              <a:t>Seite </a:t>
            </a:r>
            <a:fld id="{DC907883-A228-4E41-A7BF-33DDF6A01B2A}" type="slidenum">
              <a:rPr lang="de-DE" smtClean="0"/>
              <a:pPr algn="l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0515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33A6393-7CA5-4AD9-9A48-86279DD86D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9" name="think-cell Folie" r:id="rId4" imgW="235" imgH="235" progId="TCLayout.ActiveDocument.1">
                  <p:embed/>
                </p:oleObj>
              </mc:Choice>
              <mc:Fallback>
                <p:oleObj name="think-cell Folie" r:id="rId4" imgW="235" imgH="23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33A6393-7CA5-4AD9-9A48-86279DD86D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05E9871-0242-4AE7-8019-CD3D9BE0D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ap (II): </a:t>
            </a:r>
            <a:r>
              <a:rPr lang="de-DE" dirty="0" err="1"/>
              <a:t>Expiration</a:t>
            </a:r>
            <a:r>
              <a:rPr lang="de-DE" dirty="0"/>
              <a:t> und </a:t>
            </a:r>
            <a:r>
              <a:rPr lang="de-DE" dirty="0" err="1"/>
              <a:t>Eviction</a:t>
            </a:r>
            <a:r>
              <a:rPr lang="de-DE" dirty="0"/>
              <a:t> von </a:t>
            </a:r>
            <a:r>
              <a:rPr lang="de-DE" dirty="0" err="1"/>
              <a:t>Entri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76FC46-BD03-49DF-9503-6E3102ECAC72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/>
              <a:t>Per Default haben </a:t>
            </a:r>
            <a:r>
              <a:rPr lang="de-DE" sz="1800" b="0" dirty="0" err="1"/>
              <a:t>Maps</a:t>
            </a:r>
            <a:r>
              <a:rPr lang="de-DE" sz="1800" b="0" dirty="0"/>
              <a:t> keine Limits auf </a:t>
            </a:r>
            <a:r>
              <a:rPr lang="de-DE" sz="1800" b="0" dirty="0" err="1"/>
              <a:t>Map</a:t>
            </a:r>
            <a:r>
              <a:rPr lang="de-DE" sz="1800" b="0" dirty="0"/>
              <a:t>-Größ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/>
              <a:t>Zwei Konzepte zur Limitierung von </a:t>
            </a:r>
            <a:r>
              <a:rPr lang="de-DE" sz="1800" b="0" dirty="0" err="1"/>
              <a:t>Map</a:t>
            </a:r>
            <a:r>
              <a:rPr lang="de-DE" sz="1800" b="0" dirty="0"/>
              <a:t>-Größen: </a:t>
            </a:r>
            <a:r>
              <a:rPr lang="de-DE" sz="1800" b="0" i="1" dirty="0" err="1"/>
              <a:t>Expiration</a:t>
            </a:r>
            <a:r>
              <a:rPr lang="de-DE" sz="1800" b="0" dirty="0"/>
              <a:t> und </a:t>
            </a:r>
            <a:r>
              <a:rPr lang="de-DE" sz="1800" b="0" i="1" dirty="0" err="1"/>
              <a:t>Eviction</a:t>
            </a:r>
            <a:endParaRPr lang="de-DE" sz="1800" b="0" i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 err="1"/>
              <a:t>Expiration</a:t>
            </a:r>
            <a:endParaRPr lang="de-DE" sz="1800" b="0" dirty="0"/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dirty="0"/>
              <a:t>Limitiert maximale „Lebenszeit“ eines Schlüssels, ohne dass Operationen auf dem Schlüssel stattfinden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dirty="0"/>
              <a:t>Wenn nach </a:t>
            </a:r>
            <a:r>
              <a:rPr lang="de-DE" i="1" dirty="0"/>
              <a:t>n </a:t>
            </a:r>
            <a:r>
              <a:rPr lang="de-DE" dirty="0"/>
              <a:t>Sekunden keine Operation auf dem Schlüssel stattgefunden hat, werden er und der assoziierte Wert aus der </a:t>
            </a:r>
            <a:r>
              <a:rPr lang="de-DE" dirty="0" err="1"/>
              <a:t>Map</a:t>
            </a:r>
            <a:r>
              <a:rPr lang="de-DE" dirty="0"/>
              <a:t> gelöscht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de-DE" dirty="0" err="1"/>
              <a:t>Eviction</a:t>
            </a:r>
            <a:endParaRPr lang="de-DE" dirty="0"/>
          </a:p>
          <a:p>
            <a:pPr marL="465750" lvl="2" indent="-285750">
              <a:buFont typeface="Symbol" panose="05050102010706020507" pitchFamily="18" charset="2"/>
              <a:buChar char="-"/>
            </a:pPr>
            <a:r>
              <a:rPr lang="de-DE" dirty="0"/>
              <a:t>Limitiert die maximale </a:t>
            </a:r>
            <a:r>
              <a:rPr lang="de-DE" dirty="0" err="1"/>
              <a:t>Map</a:t>
            </a:r>
            <a:r>
              <a:rPr lang="de-DE" dirty="0"/>
              <a:t>-Größe – wenn </a:t>
            </a:r>
            <a:r>
              <a:rPr lang="de-DE" dirty="0" err="1"/>
              <a:t>Map</a:t>
            </a:r>
            <a:r>
              <a:rPr lang="de-DE" dirty="0"/>
              <a:t> Schwelle von </a:t>
            </a:r>
            <a:r>
              <a:rPr lang="de-DE" i="1" dirty="0"/>
              <a:t>x </a:t>
            </a:r>
            <a:r>
              <a:rPr lang="de-DE" dirty="0"/>
              <a:t>% des Member-Speichers überschreitet, werden Einträge anhand einer </a:t>
            </a:r>
            <a:r>
              <a:rPr lang="de-DE" i="1" dirty="0" err="1"/>
              <a:t>Eviction-Policy</a:t>
            </a:r>
            <a:r>
              <a:rPr lang="de-DE" dirty="0"/>
              <a:t> entfernt</a:t>
            </a:r>
          </a:p>
          <a:p>
            <a:pPr marL="465750" lvl="2" indent="-285750">
              <a:buFont typeface="Symbol" panose="05050102010706020507" pitchFamily="18" charset="2"/>
              <a:buChar char="-"/>
            </a:pPr>
            <a:r>
              <a:rPr lang="de-DE" dirty="0" err="1"/>
              <a:t>Eviction-Policies</a:t>
            </a:r>
            <a:r>
              <a:rPr lang="de-DE" dirty="0"/>
              <a:t>: NONE, LRU </a:t>
            </a:r>
            <a:r>
              <a:rPr lang="de-DE" i="1" dirty="0"/>
              <a:t>(Least </a:t>
            </a:r>
            <a:r>
              <a:rPr lang="de-DE" i="1" dirty="0" err="1"/>
              <a:t>Recently</a:t>
            </a:r>
            <a:r>
              <a:rPr lang="de-DE" i="1" dirty="0"/>
              <a:t> </a:t>
            </a:r>
            <a:r>
              <a:rPr lang="de-DE" i="1" dirty="0" err="1"/>
              <a:t>Used</a:t>
            </a:r>
            <a:r>
              <a:rPr lang="de-DE" i="1" dirty="0"/>
              <a:t>)</a:t>
            </a:r>
            <a:r>
              <a:rPr lang="de-DE" dirty="0"/>
              <a:t>, LFU </a:t>
            </a:r>
            <a:r>
              <a:rPr lang="de-DE" i="1" dirty="0"/>
              <a:t>(Least </a:t>
            </a:r>
            <a:r>
              <a:rPr lang="de-DE" i="1" dirty="0" err="1"/>
              <a:t>Frequently</a:t>
            </a:r>
            <a:r>
              <a:rPr lang="de-DE" i="1" dirty="0"/>
              <a:t> </a:t>
            </a:r>
            <a:r>
              <a:rPr lang="de-DE" i="1" dirty="0" err="1"/>
              <a:t>Used</a:t>
            </a:r>
            <a:r>
              <a:rPr lang="de-DE" i="1" dirty="0"/>
              <a:t>)</a:t>
            </a:r>
          </a:p>
          <a:p>
            <a:pPr marL="522900" lvl="2" indent="-342900"/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800" b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0A00332-2690-4FFA-B1EE-2C052B99190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9F1A65C-91C9-4C04-898A-58F58FAED912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32702AF-6838-404C-B238-7E8A28C1DF43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E125532-3037-4317-8DFE-8465C03CE65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l"/>
            <a:r>
              <a:rPr lang="de-DE"/>
              <a:t>Seite </a:t>
            </a:r>
            <a:fld id="{DC907883-A228-4E41-A7BF-33DDF6A01B2A}" type="slidenum">
              <a:rPr lang="de-DE" smtClean="0"/>
              <a:pPr algn="l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64629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5B5AF9E1-A4D8-4419-94B0-9CEC5CBFAF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3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17" name="Objekt 16" hidden="1">
                        <a:extLst>
                          <a:ext uri="{FF2B5EF4-FFF2-40B4-BE49-F238E27FC236}">
                            <a16:creationId xmlns:a16="http://schemas.microsoft.com/office/drawing/2014/main" id="{5B5AF9E1-A4D8-4419-94B0-9CEC5CBFA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7C68F71-09F5-490B-A97D-568CD46714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dirty="0"/>
              <a:t>Einführung </a:t>
            </a:r>
            <a:r>
              <a:rPr lang="de-DE" dirty="0" err="1"/>
              <a:t>Hazelcas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D53B2BD-C648-44B3-B809-AFEF9AB1BC6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 err="1"/>
              <a:t>Deployment</a:t>
            </a:r>
            <a:r>
              <a:rPr lang="de-DE" dirty="0"/>
              <a:t>-Topologi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7F5EE19-6316-4E6B-95C6-95D8A90E4CE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Partitionieru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3CA1B73-ADA7-42E0-A42E-4D44341550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IMap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1FA763A-2AED-4E1D-B8A2-9818910900C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b="1" dirty="0" err="1"/>
              <a:t>Hazelcast</a:t>
            </a:r>
            <a:r>
              <a:rPr lang="de-DE" b="1" dirty="0"/>
              <a:t> bei der FI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3813903-45F2-4B14-8716-B64E89A337A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Hands-On </a:t>
            </a:r>
            <a:r>
              <a:rPr lang="de-DE" dirty="0" err="1"/>
              <a:t>Hazelcast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E99DCBA-5036-4AFF-BD92-6DE7FA6B68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986D9D2F-AC42-477E-8668-62FA1A13581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20AA7B-D798-493B-AFAE-930E3E74FFC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12B742-39DF-4D43-8C4D-7C882CDB00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9E48AB2-B30A-4DB8-895E-D34AC5CDBED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489BCE4-90C1-4E10-B7B8-54380A93A0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85FB968-B271-4AA2-93BA-C0170C4A84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6</a:t>
            </a:r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C736B547-8D57-4384-989C-56C4016332CC}"/>
              </a:ext>
            </a:extLst>
          </p:cNvPr>
          <p:cNvSpPr>
            <a:spLocks noGrp="1"/>
          </p:cNvSpPr>
          <p:nvPr>
            <p:ph type="dt" sz="half" idx="28"/>
          </p:nvPr>
        </p:nvSpPr>
        <p:spPr bwMode="gray"/>
        <p:txBody>
          <a:bodyPr/>
          <a:lstStyle/>
          <a:p>
            <a:fld id="{350E4AE0-D406-445D-B6A6-8E4DB1E786F1}" type="datetime1">
              <a:rPr lang="de-DE" smtClean="0"/>
              <a:t>18.12.2024</a:t>
            </a:fld>
            <a:endParaRPr lang="de-DE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F96FA1EC-C508-4D72-9DA1-0EB4695DE6B8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53919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33A6393-7CA5-4AD9-9A48-86279DD86D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0" name="think-cell Folie" r:id="rId4" imgW="235" imgH="235" progId="TCLayout.ActiveDocument.1">
                  <p:embed/>
                </p:oleObj>
              </mc:Choice>
              <mc:Fallback>
                <p:oleObj name="think-cell Folie" r:id="rId4" imgW="235" imgH="23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33A6393-7CA5-4AD9-9A48-86279DD86D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05E9871-0242-4AE7-8019-CD3D9BE0D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Hazelcast</a:t>
            </a:r>
            <a:r>
              <a:rPr lang="de-DE" dirty="0"/>
              <a:t> bei der FI (I): Anwendungsübersich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76FC46-BD03-49DF-9503-6E3102ECAC72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de-DE" sz="1800" b="0" dirty="0"/>
              <a:t>Im Kontext von </a:t>
            </a:r>
            <a:r>
              <a:rPr lang="de-DE" sz="1800" b="0" dirty="0" err="1"/>
              <a:t>Hazelcast</a:t>
            </a:r>
            <a:r>
              <a:rPr lang="de-DE" sz="1800" b="0" dirty="0"/>
              <a:t> drei Anwendungen:</a:t>
            </a:r>
          </a:p>
          <a:p>
            <a:pPr marL="522900" lvl="2" indent="-342900"/>
            <a:r>
              <a:rPr lang="de-DE" dirty="0" err="1"/>
              <a:t>Hazelcast</a:t>
            </a:r>
            <a:r>
              <a:rPr lang="de-DE" dirty="0"/>
              <a:t> selbst</a:t>
            </a:r>
          </a:p>
          <a:p>
            <a:pPr marL="702900" lvl="3" indent="-342900"/>
            <a:r>
              <a:rPr lang="de-DE" dirty="0"/>
              <a:t>„</a:t>
            </a:r>
            <a:r>
              <a:rPr lang="de-DE" dirty="0" err="1"/>
              <a:t>Hazelcast</a:t>
            </a:r>
            <a:r>
              <a:rPr lang="de-DE" dirty="0"/>
              <a:t> IMDG“</a:t>
            </a:r>
          </a:p>
          <a:p>
            <a:pPr marL="702900" lvl="3" indent="-342900"/>
            <a:r>
              <a:rPr lang="de-DE" dirty="0"/>
              <a:t>Memory-</a:t>
            </a:r>
            <a:r>
              <a:rPr lang="de-DE" dirty="0" err="1"/>
              <a:t>Grid</a:t>
            </a:r>
            <a:r>
              <a:rPr lang="de-DE" dirty="0"/>
              <a:t> mit Member-Arten </a:t>
            </a:r>
            <a:r>
              <a:rPr lang="de-DE" i="1" dirty="0" err="1"/>
              <a:t>Full</a:t>
            </a:r>
            <a:r>
              <a:rPr lang="de-DE" i="1" dirty="0"/>
              <a:t>, Lite lokal, Lite WAN</a:t>
            </a:r>
          </a:p>
          <a:p>
            <a:pPr marL="522900" lvl="2" indent="-342900"/>
            <a:r>
              <a:rPr lang="de-DE" dirty="0" err="1"/>
              <a:t>Hazelcast</a:t>
            </a:r>
            <a:r>
              <a:rPr lang="de-DE" dirty="0"/>
              <a:t>-Management-Center</a:t>
            </a:r>
          </a:p>
          <a:p>
            <a:pPr marL="702900" lvl="3" indent="-342900"/>
            <a:r>
              <a:rPr lang="de-DE" dirty="0"/>
              <a:t>„</a:t>
            </a:r>
            <a:r>
              <a:rPr lang="de-DE" dirty="0" err="1"/>
              <a:t>Mancenter</a:t>
            </a:r>
            <a:r>
              <a:rPr lang="de-DE" dirty="0"/>
              <a:t>“</a:t>
            </a:r>
          </a:p>
          <a:p>
            <a:pPr marL="702900" lvl="3" indent="-342900"/>
            <a:r>
              <a:rPr lang="de-DE" dirty="0"/>
              <a:t>Browser-UI mit Informationen über Cluster-Zustand, Member, </a:t>
            </a:r>
            <a:r>
              <a:rPr lang="de-DE" dirty="0" err="1"/>
              <a:t>Maps</a:t>
            </a:r>
            <a:r>
              <a:rPr lang="de-DE" dirty="0"/>
              <a:t>, Clients etc.</a:t>
            </a:r>
          </a:p>
          <a:p>
            <a:pPr marL="702900" lvl="3" indent="-342900"/>
            <a:r>
              <a:rPr lang="de-DE" dirty="0"/>
              <a:t>Für Admin-User (bei FI nur für </a:t>
            </a:r>
            <a:r>
              <a:rPr lang="de-DE" dirty="0" err="1"/>
              <a:t>Entw</a:t>
            </a:r>
            <a:r>
              <a:rPr lang="de-DE" dirty="0"/>
              <a:t>.) Konsole mit Möglichkeit zur direkten Interaktion mit HZ-Cluster</a:t>
            </a:r>
          </a:p>
          <a:p>
            <a:pPr marL="522900" lvl="2" indent="-342900"/>
            <a:r>
              <a:rPr lang="de-DE" dirty="0" err="1"/>
              <a:t>Padogrid</a:t>
            </a:r>
            <a:endParaRPr lang="de-DE" dirty="0"/>
          </a:p>
          <a:p>
            <a:pPr marL="702900" lvl="3" indent="-342900"/>
            <a:r>
              <a:rPr lang="de-DE" dirty="0"/>
              <a:t>„</a:t>
            </a:r>
            <a:r>
              <a:rPr lang="de-DE" dirty="0" err="1"/>
              <a:t>Pado</a:t>
            </a:r>
            <a:r>
              <a:rPr lang="de-DE" dirty="0"/>
              <a:t>“</a:t>
            </a:r>
          </a:p>
          <a:p>
            <a:pPr marL="702900" lvl="3" indent="-342900"/>
            <a:r>
              <a:rPr lang="de-DE" dirty="0"/>
              <a:t>Anwendung zur Ausführung von Last- und Funktionstests auf HZ-Cluster</a:t>
            </a:r>
          </a:p>
          <a:p>
            <a:pPr marL="702900" lvl="3" indent="-342900"/>
            <a:r>
              <a:rPr lang="de-DE" dirty="0"/>
              <a:t>Tritt gegenüber HZ-Cluster als Client auf</a:t>
            </a:r>
          </a:p>
          <a:p>
            <a:pPr marL="522900" lvl="2" indent="-342900"/>
            <a:endParaRPr lang="de-DE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800" b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0A00332-2690-4FFA-B1EE-2C052B99190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9F1A65C-91C9-4C04-898A-58F58FAED912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32702AF-6838-404C-B238-7E8A28C1DF43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E125532-3037-4317-8DFE-8465C03CE65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l"/>
            <a:r>
              <a:rPr lang="de-DE"/>
              <a:t>Seite </a:t>
            </a:r>
            <a:fld id="{DC907883-A228-4E41-A7BF-33DDF6A01B2A}" type="slidenum">
              <a:rPr lang="de-DE" smtClean="0"/>
              <a:pPr algn="l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70738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33A6393-7CA5-4AD9-9A48-86279DD86D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6" name="think-cell Folie" r:id="rId4" imgW="235" imgH="235" progId="TCLayout.ActiveDocument.1">
                  <p:embed/>
                </p:oleObj>
              </mc:Choice>
              <mc:Fallback>
                <p:oleObj name="think-cell Folie" r:id="rId4" imgW="235" imgH="23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33A6393-7CA5-4AD9-9A48-86279DD86D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05E9871-0242-4AE7-8019-CD3D9BE0D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Hazelcast</a:t>
            </a:r>
            <a:r>
              <a:rPr lang="de-DE" dirty="0"/>
              <a:t> bei der FI (II): Betriebs- und </a:t>
            </a:r>
            <a:r>
              <a:rPr lang="de-DE" dirty="0" err="1"/>
              <a:t>Deploymentmodell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76FC46-BD03-49DF-9503-6E3102ECAC72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/>
              <a:t>Bei FI eingesetztes Betriebsmodell: Client/Serv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 err="1"/>
              <a:t>Deployment</a:t>
            </a:r>
            <a:r>
              <a:rPr lang="de-DE" sz="1800" b="0" dirty="0"/>
              <a:t> von </a:t>
            </a:r>
            <a:r>
              <a:rPr lang="de-DE" sz="1800" b="0" dirty="0" err="1"/>
              <a:t>Hazelcast</a:t>
            </a:r>
            <a:r>
              <a:rPr lang="de-DE" sz="1800" b="0" dirty="0"/>
              <a:t> je Ausfallmenge auf 4 </a:t>
            </a:r>
            <a:r>
              <a:rPr lang="de-DE" sz="1800" b="0" dirty="0" err="1"/>
              <a:t>OpenShift</a:t>
            </a:r>
            <a:r>
              <a:rPr lang="de-DE" sz="1800" b="0" dirty="0"/>
              <a:t>-Cluster (jeweils 2 in M/G, für Produktion entsprechend für H/P)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dirty="0"/>
              <a:t>Beispiel </a:t>
            </a:r>
            <a:r>
              <a:rPr lang="de-DE" i="1" dirty="0"/>
              <a:t>IN02</a:t>
            </a:r>
            <a:r>
              <a:rPr lang="de-DE" dirty="0"/>
              <a:t>: </a:t>
            </a:r>
            <a:r>
              <a:rPr lang="de-DE" dirty="0" err="1"/>
              <a:t>Hazelcast</a:t>
            </a:r>
            <a:r>
              <a:rPr lang="de-DE" dirty="0"/>
              <a:t> auf </a:t>
            </a:r>
            <a:r>
              <a:rPr lang="de-DE" dirty="0" err="1"/>
              <a:t>mta</a:t>
            </a:r>
            <a:r>
              <a:rPr lang="de-DE" dirty="0"/>
              <a:t>, </a:t>
            </a:r>
            <a:r>
              <a:rPr lang="de-DE" dirty="0" err="1"/>
              <a:t>mtb</a:t>
            </a:r>
            <a:r>
              <a:rPr lang="de-DE" dirty="0"/>
              <a:t>, </a:t>
            </a:r>
            <a:r>
              <a:rPr lang="de-DE" dirty="0" err="1"/>
              <a:t>gta</a:t>
            </a:r>
            <a:r>
              <a:rPr lang="de-DE" dirty="0"/>
              <a:t>, </a:t>
            </a:r>
            <a:r>
              <a:rPr lang="de-DE" dirty="0" err="1"/>
              <a:t>gtb</a:t>
            </a:r>
            <a:r>
              <a:rPr lang="de-DE" dirty="0"/>
              <a:t>; Beispiel </a:t>
            </a:r>
            <a:r>
              <a:rPr lang="de-DE" i="1" dirty="0"/>
              <a:t>HP51</a:t>
            </a:r>
            <a:r>
              <a:rPr lang="de-DE" dirty="0"/>
              <a:t>: </a:t>
            </a:r>
            <a:r>
              <a:rPr lang="de-DE" dirty="0" err="1"/>
              <a:t>hpa</a:t>
            </a:r>
            <a:r>
              <a:rPr lang="de-DE" dirty="0"/>
              <a:t>, </a:t>
            </a:r>
            <a:r>
              <a:rPr lang="de-DE" dirty="0" err="1"/>
              <a:t>hpb</a:t>
            </a:r>
            <a:r>
              <a:rPr lang="de-DE" dirty="0"/>
              <a:t>, </a:t>
            </a:r>
            <a:r>
              <a:rPr lang="de-DE" dirty="0" err="1"/>
              <a:t>ppa</a:t>
            </a:r>
            <a:r>
              <a:rPr lang="de-DE" dirty="0"/>
              <a:t>, ppb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dirty="0"/>
              <a:t>HZ-Member in einer Lokation formen ein Cluster, Verbindung zweier Cluster über WAN-Replikation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dirty="0"/>
              <a:t>Beispiel </a:t>
            </a:r>
            <a:r>
              <a:rPr lang="de-DE" i="1" dirty="0"/>
              <a:t>IN02</a:t>
            </a:r>
            <a:r>
              <a:rPr lang="de-DE" dirty="0"/>
              <a:t>: Ein Cluster auf </a:t>
            </a:r>
            <a:r>
              <a:rPr lang="de-DE" dirty="0" err="1"/>
              <a:t>mta</a:t>
            </a:r>
            <a:r>
              <a:rPr lang="de-DE" dirty="0"/>
              <a:t> &amp; </a:t>
            </a:r>
            <a:r>
              <a:rPr lang="de-DE" dirty="0" err="1"/>
              <a:t>mtb</a:t>
            </a:r>
            <a:r>
              <a:rPr lang="de-DE" dirty="0"/>
              <a:t> repliziert nach </a:t>
            </a:r>
            <a:r>
              <a:rPr lang="de-DE" dirty="0" err="1"/>
              <a:t>gta</a:t>
            </a:r>
            <a:r>
              <a:rPr lang="de-DE" dirty="0"/>
              <a:t> &amp; </a:t>
            </a:r>
            <a:r>
              <a:rPr lang="de-DE" dirty="0" err="1"/>
              <a:t>gtb</a:t>
            </a:r>
            <a:r>
              <a:rPr lang="de-DE" dirty="0"/>
              <a:t> und umgekehrt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de-DE" dirty="0"/>
              <a:t>Unterschiedliche Arten von </a:t>
            </a:r>
            <a:r>
              <a:rPr lang="de-DE" dirty="0" err="1"/>
              <a:t>Pods</a:t>
            </a:r>
            <a:endParaRPr lang="de-DE" dirty="0"/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i="1" dirty="0" err="1"/>
              <a:t>Full</a:t>
            </a:r>
            <a:r>
              <a:rPr lang="de-DE" i="1" dirty="0"/>
              <a:t>-Member</a:t>
            </a:r>
            <a:r>
              <a:rPr lang="de-DE" dirty="0"/>
              <a:t>: Eigentliche Datenspeicherung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dirty="0"/>
              <a:t>Lite-Member lokal: Proxy für lokale Clients (also solche auf eigenem OC-Cluster) – keine Datenspeicherung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dirty="0"/>
              <a:t>Lite-Member WAN: Proxy für WAN-Clients (also solche in anderer Lokation) – keine Datenspeicheru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800" b="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800" b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0A00332-2690-4FFA-B1EE-2C052B99190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9F1A65C-91C9-4C04-898A-58F58FAED912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32702AF-6838-404C-B238-7E8A28C1DF43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E125532-3037-4317-8DFE-8465C03CE65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l"/>
            <a:r>
              <a:rPr lang="de-DE"/>
              <a:t>Seite </a:t>
            </a:r>
            <a:fld id="{DC907883-A228-4E41-A7BF-33DDF6A01B2A}" type="slidenum">
              <a:rPr lang="de-DE" smtClean="0"/>
              <a:pPr algn="l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12327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33A6393-7CA5-4AD9-9A48-86279DD86D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2" name="think-cell Folie" r:id="rId4" imgW="235" imgH="235" progId="TCLayout.ActiveDocument.1">
                  <p:embed/>
                </p:oleObj>
              </mc:Choice>
              <mc:Fallback>
                <p:oleObj name="think-cell Folie" r:id="rId4" imgW="235" imgH="23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33A6393-7CA5-4AD9-9A48-86279DD86D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05E9871-0242-4AE7-8019-CD3D9BE0D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50" y="224644"/>
            <a:ext cx="11521280" cy="504056"/>
          </a:xfrm>
        </p:spPr>
        <p:txBody>
          <a:bodyPr/>
          <a:lstStyle/>
          <a:p>
            <a:r>
              <a:rPr lang="de-DE" dirty="0" err="1"/>
              <a:t>Hazelcast</a:t>
            </a:r>
            <a:r>
              <a:rPr lang="de-DE" dirty="0"/>
              <a:t> bei der FI (III): Member-Kommunikation loka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76FC46-BD03-49DF-9503-6E3102ECAC72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9F1A65C-91C9-4C04-898A-58F58FAED912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32702AF-6838-404C-B238-7E8A28C1DF43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E125532-3037-4317-8DFE-8465C03CE65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l"/>
            <a:r>
              <a:rPr lang="de-DE"/>
              <a:t>Seite </a:t>
            </a:r>
            <a:fld id="{DC907883-A228-4E41-A7BF-33DDF6A01B2A}" type="slidenum">
              <a:rPr lang="de-DE" smtClean="0"/>
              <a:pPr algn="l"/>
              <a:t>17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6832" y="867016"/>
            <a:ext cx="5819436" cy="5335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0496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33A6393-7CA5-4AD9-9A48-86279DD86D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6" name="think-cell Folie" r:id="rId4" imgW="235" imgH="235" progId="TCLayout.ActiveDocument.1">
                  <p:embed/>
                </p:oleObj>
              </mc:Choice>
              <mc:Fallback>
                <p:oleObj name="think-cell Folie" r:id="rId4" imgW="235" imgH="23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33A6393-7CA5-4AD9-9A48-86279DD86D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05E9871-0242-4AE7-8019-CD3D9BE0D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50" y="224644"/>
            <a:ext cx="11521280" cy="504056"/>
          </a:xfrm>
        </p:spPr>
        <p:txBody>
          <a:bodyPr/>
          <a:lstStyle/>
          <a:p>
            <a:r>
              <a:rPr lang="de-DE" dirty="0" err="1"/>
              <a:t>Hazelcast</a:t>
            </a:r>
            <a:r>
              <a:rPr lang="de-DE" dirty="0"/>
              <a:t> bei der FI (IV): Member-Kommunikation WA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76FC46-BD03-49DF-9503-6E3102ECAC72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9F1A65C-91C9-4C04-898A-58F58FAED912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32702AF-6838-404C-B238-7E8A28C1DF43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E125532-3037-4317-8DFE-8465C03CE65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l"/>
            <a:r>
              <a:rPr lang="de-DE"/>
              <a:t>Seite </a:t>
            </a:r>
            <a:fld id="{DC907883-A228-4E41-A7BF-33DDF6A01B2A}" type="slidenum">
              <a:rPr lang="de-DE" smtClean="0"/>
              <a:pPr algn="l"/>
              <a:t>18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075" y="836712"/>
            <a:ext cx="7632848" cy="5430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5825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5B5AF9E1-A4D8-4419-94B0-9CEC5CBFAF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7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17" name="Objekt 16" hidden="1">
                        <a:extLst>
                          <a:ext uri="{FF2B5EF4-FFF2-40B4-BE49-F238E27FC236}">
                            <a16:creationId xmlns:a16="http://schemas.microsoft.com/office/drawing/2014/main" id="{5B5AF9E1-A4D8-4419-94B0-9CEC5CBFA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7C68F71-09F5-490B-A97D-568CD46714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dirty="0"/>
              <a:t>Einführung </a:t>
            </a:r>
            <a:r>
              <a:rPr lang="de-DE" dirty="0" err="1"/>
              <a:t>Hazelcas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D53B2BD-C648-44B3-B809-AFEF9AB1BC6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 err="1"/>
              <a:t>Deployment</a:t>
            </a:r>
            <a:r>
              <a:rPr lang="de-DE" dirty="0"/>
              <a:t>-Topologi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7F5EE19-6316-4E6B-95C6-95D8A90E4CE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Partitionieru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3CA1B73-ADA7-42E0-A42E-4D44341550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IMap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1FA763A-2AED-4E1D-B8A2-9818910900C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 err="1"/>
              <a:t>Hazelcast</a:t>
            </a:r>
            <a:r>
              <a:rPr lang="de-DE" dirty="0"/>
              <a:t> bei der FI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3813903-45F2-4B14-8716-B64E89A337A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b="1" dirty="0"/>
              <a:t>Hands-On </a:t>
            </a:r>
            <a:r>
              <a:rPr lang="de-DE" b="1" dirty="0" err="1"/>
              <a:t>Hazelcast</a:t>
            </a:r>
            <a:endParaRPr lang="de-DE" b="1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E99DCBA-5036-4AFF-BD92-6DE7FA6B68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986D9D2F-AC42-477E-8668-62FA1A13581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20AA7B-D798-493B-AFAE-930E3E74FFC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12B742-39DF-4D43-8C4D-7C882CDB00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9E48AB2-B30A-4DB8-895E-D34AC5CDBED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489BCE4-90C1-4E10-B7B8-54380A93A0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85FB968-B271-4AA2-93BA-C0170C4A84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6</a:t>
            </a:r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C736B547-8D57-4384-989C-56C4016332CC}"/>
              </a:ext>
            </a:extLst>
          </p:cNvPr>
          <p:cNvSpPr>
            <a:spLocks noGrp="1"/>
          </p:cNvSpPr>
          <p:nvPr>
            <p:ph type="dt" sz="half" idx="28"/>
          </p:nvPr>
        </p:nvSpPr>
        <p:spPr bwMode="gray"/>
        <p:txBody>
          <a:bodyPr/>
          <a:lstStyle/>
          <a:p>
            <a:fld id="{350E4AE0-D406-445D-B6A6-8E4DB1E786F1}" type="datetime1">
              <a:rPr lang="de-DE" smtClean="0"/>
              <a:t>18.12.2024</a:t>
            </a:fld>
            <a:endParaRPr lang="de-DE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F96FA1EC-C508-4D72-9DA1-0EB4695DE6B8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70723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5B5AF9E1-A4D8-4419-94B0-9CEC5CBFAF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3481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9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7C68F71-09F5-490B-A97D-568CD46714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dirty="0"/>
              <a:t>Einführung </a:t>
            </a:r>
            <a:r>
              <a:rPr lang="de-DE" dirty="0" err="1"/>
              <a:t>Hazelcas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D53B2BD-C648-44B3-B809-AFEF9AB1BC6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 err="1"/>
              <a:t>Deployment</a:t>
            </a:r>
            <a:r>
              <a:rPr lang="de-DE" dirty="0"/>
              <a:t>-Topologi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7F5EE19-6316-4E6B-95C6-95D8A90E4CE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Partitionieru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3CA1B73-ADA7-42E0-A42E-4D44341550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IMap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1FA763A-2AED-4E1D-B8A2-9818910900C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 err="1"/>
              <a:t>Hazelcast</a:t>
            </a:r>
            <a:r>
              <a:rPr lang="de-DE" dirty="0"/>
              <a:t> bei der FI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3813903-45F2-4B14-8716-B64E89A337A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Hands-On </a:t>
            </a:r>
            <a:r>
              <a:rPr lang="de-DE" dirty="0" err="1"/>
              <a:t>Hazelcast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E99DCBA-5036-4AFF-BD92-6DE7FA6B68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986D9D2F-AC42-477E-8668-62FA1A13581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20AA7B-D798-493B-AFAE-930E3E74FFC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12B742-39DF-4D43-8C4D-7C882CDB00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9E48AB2-B30A-4DB8-895E-D34AC5CDBED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489BCE4-90C1-4E10-B7B8-54380A93A0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85FB968-B271-4AA2-93BA-C0170C4A84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6</a:t>
            </a:r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C736B547-8D57-4384-989C-56C4016332CC}"/>
              </a:ext>
            </a:extLst>
          </p:cNvPr>
          <p:cNvSpPr>
            <a:spLocks noGrp="1"/>
          </p:cNvSpPr>
          <p:nvPr>
            <p:ph type="dt" sz="half" idx="28"/>
          </p:nvPr>
        </p:nvSpPr>
        <p:spPr bwMode="gray"/>
        <p:txBody>
          <a:bodyPr/>
          <a:lstStyle/>
          <a:p>
            <a:fld id="{350E4AE0-D406-445D-B6A6-8E4DB1E786F1}" type="datetime1">
              <a:rPr lang="de-DE" smtClean="0"/>
              <a:t>18.12.2024</a:t>
            </a:fld>
            <a:endParaRPr lang="de-DE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F96FA1EC-C508-4D72-9DA1-0EB4695DE6B8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04543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33A6393-7CA5-4AD9-9A48-86279DD86D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0" name="think-cell Folie" r:id="rId4" imgW="235" imgH="235" progId="TCLayout.ActiveDocument.1">
                  <p:embed/>
                </p:oleObj>
              </mc:Choice>
              <mc:Fallback>
                <p:oleObj name="think-cell Folie" r:id="rId4" imgW="235" imgH="23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33A6393-7CA5-4AD9-9A48-86279DD86D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05E9871-0242-4AE7-8019-CD3D9BE0D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nds-On </a:t>
            </a:r>
            <a:r>
              <a:rPr lang="de-DE" dirty="0" err="1"/>
              <a:t>Hazelcast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76FC46-BD03-49DF-9503-6E3102ECAC7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794169" y="3032956"/>
            <a:ext cx="4606835" cy="360040"/>
          </a:xfrm>
        </p:spPr>
        <p:txBody>
          <a:bodyPr/>
          <a:lstStyle/>
          <a:p>
            <a:pPr algn="ctr"/>
            <a:r>
              <a:rPr lang="de-DE" b="0" dirty="0"/>
              <a:t>Und nun live und in Farbe </a:t>
            </a:r>
            <a:r>
              <a:rPr lang="de-DE" b="0" dirty="0">
                <a:sym typeface="Wingdings" panose="05000000000000000000" pitchFamily="2" charset="2"/>
              </a:rPr>
              <a:t> </a:t>
            </a:r>
            <a:endParaRPr lang="de-DE" b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0A00332-2690-4FFA-B1EE-2C052B99190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96987" y="5517232"/>
            <a:ext cx="9360000" cy="144000"/>
          </a:xfrm>
        </p:spPr>
        <p:txBody>
          <a:bodyPr/>
          <a:lstStyle/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9F1A65C-91C9-4C04-898A-58F58FAED912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32702AF-6838-404C-B238-7E8A28C1DF43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E125532-3037-4317-8DFE-8465C03CE65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l"/>
            <a:r>
              <a:rPr lang="de-DE"/>
              <a:t>Seite </a:t>
            </a:r>
            <a:fld id="{DC907883-A228-4E41-A7BF-33DDF6A01B2A}" type="slidenum">
              <a:rPr lang="de-DE" smtClean="0"/>
              <a:pPr algn="l"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08438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33348BAF-1ED2-4003-AAEA-CC32B007DC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922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0" name="think-cell Folie" r:id="rId8" imgW="306" imgH="306" progId="TCLayout.ActiveDocument.1">
                  <p:embed/>
                </p:oleObj>
              </mc:Choice>
              <mc:Fallback>
                <p:oleObj name="think-cell Folie" r:id="rId8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33348BAF-1ED2-4003-AAEA-CC32B007D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3574AF9-2CAB-431A-AC11-42F933C3C17D}"/>
              </a:ext>
            </a:extLst>
          </p:cNvPr>
          <p:cNvSpPr>
            <a:spLocks noGrp="1"/>
          </p:cNvSpPr>
          <p:nvPr>
            <p:ph type="body" sz="quarter" idx="30"/>
            <p:custDataLst>
              <p:tags r:id="rId3"/>
            </p:custDataLst>
          </p:nvPr>
        </p:nvSpPr>
        <p:spPr bwMode="gray">
          <a:xfrm>
            <a:off x="-1" y="3069000"/>
            <a:ext cx="11858626" cy="2880000"/>
          </a:xfrm>
        </p:spPr>
        <p:txBody>
          <a:bodyPr/>
          <a:lstStyle/>
          <a:p>
            <a:r>
              <a:rPr lang="de-DE" dirty="0"/>
              <a:t>Nico Krieg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49857C5-7A37-4C1E-8377-DE84FB0DE73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336947" y="333000"/>
            <a:ext cx="8568640" cy="935760"/>
          </a:xfrm>
        </p:spPr>
        <p:txBody>
          <a:bodyPr vert="horz"/>
          <a:lstStyle/>
          <a:p>
            <a:r>
              <a:rPr lang="de-DE" dirty="0"/>
              <a:t>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F9E696B-B901-45C6-A11F-086239F8D56C}"/>
              </a:ext>
            </a:extLst>
          </p:cNvPr>
          <p:cNvSpPr>
            <a:spLocks noGrp="1"/>
          </p:cNvSpPr>
          <p:nvPr>
            <p:ph type="dt" sz="half" idx="22"/>
          </p:nvPr>
        </p:nvSpPr>
        <p:spPr bwMode="gray">
          <a:xfrm>
            <a:off x="5449587" y="6453352"/>
            <a:ext cx="648000" cy="180000"/>
          </a:xfrm>
        </p:spPr>
        <p:txBody>
          <a:bodyPr/>
          <a:lstStyle/>
          <a:p>
            <a:fld id="{4ABB945E-3A1E-4CD4-AA33-24DF7FC831D0}" type="datetime1">
              <a:rPr lang="de-DE" smtClean="0"/>
              <a:t>18.12.2024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3D6766B-08CE-4C84-97A3-564BE70F3C8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 bwMode="gray">
          <a:xfrm>
            <a:off x="6097587" y="6453352"/>
            <a:ext cx="648072" cy="180000"/>
          </a:xfrm>
        </p:spPr>
        <p:txBody>
          <a:bodyPr/>
          <a:lstStyle/>
          <a:p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4F5D110-24E8-4394-903C-FAD49FEAFE56}"/>
              </a:ext>
            </a:extLst>
          </p:cNvPr>
          <p:cNvSpPr>
            <a:spLocks noGrp="1"/>
          </p:cNvSpPr>
          <p:nvPr>
            <p:ph type="body" sz="quarter" idx="31"/>
            <p:custDataLst>
              <p:tags r:id="rId5"/>
            </p:custDataLst>
          </p:nvPr>
        </p:nvSpPr>
        <p:spPr bwMode="gray">
          <a:xfrm>
            <a:off x="6097587" y="3861000"/>
            <a:ext cx="5760000" cy="432000"/>
          </a:xfrm>
        </p:spPr>
        <p:txBody>
          <a:bodyPr/>
          <a:lstStyle/>
          <a:p>
            <a:r>
              <a:rPr lang="de-DE" dirty="0"/>
              <a:t>Externer Berater | OE 5231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0B395D5-64D7-417B-A410-90B119F8B31F}"/>
              </a:ext>
            </a:extLst>
          </p:cNvPr>
          <p:cNvSpPr>
            <a:spLocks noGrp="1"/>
          </p:cNvSpPr>
          <p:nvPr>
            <p:ph type="body" sz="quarter" idx="32"/>
            <p:custDataLst>
              <p:tags r:id="rId6"/>
            </p:custDataLst>
          </p:nvPr>
        </p:nvSpPr>
        <p:spPr bwMode="gray">
          <a:xfrm>
            <a:off x="6097587" y="4293000"/>
            <a:ext cx="5760000" cy="1656950"/>
          </a:xfrm>
        </p:spPr>
        <p:txBody>
          <a:bodyPr/>
          <a:lstStyle/>
          <a:p>
            <a:r>
              <a:rPr lang="de-DE" dirty="0"/>
              <a:t>Finanz Informatik</a:t>
            </a:r>
            <a:br>
              <a:rPr lang="de-DE" dirty="0"/>
            </a:br>
            <a:br>
              <a:rPr lang="de-DE" dirty="0"/>
            </a:br>
            <a:r>
              <a:rPr lang="de-DE" dirty="0"/>
              <a:t>Mobil	+49 152 02649992</a:t>
            </a:r>
          </a:p>
          <a:p>
            <a:r>
              <a:rPr lang="de-DE" dirty="0"/>
              <a:t>E-Mail	nico.krieg@extern.f-i.de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13228DF8-A047-40B0-B91B-3A74A3B4529D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 bwMode="gray"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57400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95899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8" name="Objekt 87" hidden="1">
            <a:extLst>
              <a:ext uri="{FF2B5EF4-FFF2-40B4-BE49-F238E27FC236}">
                <a16:creationId xmlns:a16="http://schemas.microsoft.com/office/drawing/2014/main" id="{30C90F49-965B-4803-B4D1-C88770CCC1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0750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8" name="think-cell Folie" r:id="rId32" imgW="306" imgH="306" progId="TCLayout.ActiveDocument.1">
                  <p:embed/>
                </p:oleObj>
              </mc:Choice>
              <mc:Fallback>
                <p:oleObj name="think-cell Folie" r:id="rId32" imgW="306" imgH="306" progId="TCLayout.ActiveDocument.1">
                  <p:embed/>
                  <p:pic>
                    <p:nvPicPr>
                      <p:cNvPr id="88" name="Objekt 87" hidden="1">
                        <a:extLst>
                          <a:ext uri="{FF2B5EF4-FFF2-40B4-BE49-F238E27FC236}">
                            <a16:creationId xmlns:a16="http://schemas.microsoft.com/office/drawing/2014/main" id="{30C90F49-965B-4803-B4D1-C88770CCC1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85E9F2B-D026-45AE-9574-5E58E8A89F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solidFill>
            <a:schemeClr val="bg2"/>
          </a:solidFill>
        </p:spPr>
        <p:txBody>
          <a:bodyPr vert="horz"/>
          <a:lstStyle/>
          <a:p>
            <a:r>
              <a:rPr lang="de-DE" dirty="0"/>
              <a:t>Wo finde</a:t>
            </a:r>
            <a:br>
              <a:rPr lang="de-DE" dirty="0"/>
            </a:br>
            <a:r>
              <a:rPr lang="de-DE" dirty="0"/>
              <a:t>ich was?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6E81335-789A-415F-9E17-46542FEF961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B4B41DD-138E-499B-8C61-0E90BE052F48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3289300" y="332656"/>
            <a:ext cx="2592388" cy="525600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de-DE" sz="2000" b="1" dirty="0">
                <a:solidFill>
                  <a:schemeClr val="tx1"/>
                </a:solidFill>
                <a:latin typeface="+mj-lt"/>
              </a:rPr>
              <a:t>Folien-Bibliothek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de-DE" dirty="0">
                <a:solidFill>
                  <a:schemeClr val="tx1"/>
                </a:solidFill>
                <a:latin typeface="+mj-lt"/>
              </a:rPr>
              <a:t>Auswahl an beispiel-haften Darstellungen</a:t>
            </a:r>
            <a:br>
              <a:rPr lang="de-DE" dirty="0">
                <a:solidFill>
                  <a:schemeClr val="tx1"/>
                </a:solidFill>
                <a:latin typeface="+mj-lt"/>
              </a:rPr>
            </a:br>
            <a:r>
              <a:rPr lang="de-DE" dirty="0">
                <a:solidFill>
                  <a:schemeClr val="tx1"/>
                </a:solidFill>
                <a:latin typeface="+mj-lt"/>
              </a:rPr>
              <a:t>für FI-Präsentationen</a:t>
            </a:r>
            <a:br>
              <a:rPr lang="de-DE" dirty="0">
                <a:solidFill>
                  <a:schemeClr val="tx1"/>
                </a:solidFill>
                <a:latin typeface="+mj-lt"/>
              </a:rPr>
            </a:br>
            <a:r>
              <a:rPr lang="de-DE" dirty="0">
                <a:solidFill>
                  <a:schemeClr val="tx1"/>
                </a:solidFill>
                <a:latin typeface="+mj-lt"/>
              </a:rPr>
              <a:t>(per copy &amp; paste</a:t>
            </a:r>
            <a:br>
              <a:rPr lang="de-DE" dirty="0">
                <a:solidFill>
                  <a:schemeClr val="tx1"/>
                </a:solidFill>
                <a:latin typeface="+mj-lt"/>
              </a:rPr>
            </a:br>
            <a:r>
              <a:rPr lang="de-DE" dirty="0">
                <a:solidFill>
                  <a:schemeClr val="tx1"/>
                </a:solidFill>
                <a:latin typeface="+mj-lt"/>
              </a:rPr>
              <a:t>auswählen und in Ihrer aktiven Präsentation einfügen)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2DDCEC1-952A-471D-B888-FEB4C689436B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6313611" y="332656"/>
            <a:ext cx="2592000" cy="525600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de-DE" sz="2000" b="1" dirty="0">
                <a:solidFill>
                  <a:schemeClr val="tx1"/>
                </a:solidFill>
                <a:latin typeface="+mj-lt"/>
              </a:rPr>
              <a:t>Foto-Bibliothe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44B5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uswahl an rele-vantem Bildmaterial für FI-Präsentationen (per copy &amp;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44B5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ast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44B5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auswählen und in Ihrer aktiven Präsentation einfügen)</a:t>
            </a:r>
            <a:endParaRPr lang="de-DE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B7169FE-64AB-4AB5-AFB5-EF7DED475672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9265939" y="332656"/>
            <a:ext cx="2592000" cy="525600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de-DE" sz="2000" b="1" dirty="0">
                <a:solidFill>
                  <a:schemeClr val="tx1"/>
                </a:solidFill>
                <a:latin typeface="+mj-lt"/>
              </a:rPr>
              <a:t>Icons-Bibliothe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44B5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uswahl an diversen Icons für FI-Präsentationen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44B5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44B5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per copy &amp;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44B5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ast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44B5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auswählen und in Ihrer aktiven Präsentation einfügen)</a:t>
            </a:r>
            <a:endParaRPr lang="de-DE" sz="2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1B24182-8C37-4C37-AA0A-E4B030D55840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3433291" y="4509280"/>
            <a:ext cx="8425334" cy="144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lIns="504000" tIns="144000" rIns="144000" bIns="144000" rtlCol="0" anchor="t" anchorCtr="0">
            <a:noAutofit/>
          </a:bodyPr>
          <a:lstStyle>
            <a:lvl1pPr lvl="0" indent="0">
              <a:spcBef>
                <a:spcPts val="800"/>
              </a:spcBef>
              <a:spcAft>
                <a:spcPts val="400"/>
              </a:spcAft>
              <a:buFont typeface="Arial" pitchFamily="34" charset="0"/>
              <a:buNone/>
              <a:defRPr sz="2000" b="1">
                <a:solidFill>
                  <a:srgbClr val="444B52"/>
                </a:solidFill>
              </a:defRPr>
            </a:lvl1pPr>
            <a:lvl2pPr marL="0" lvl="1" indent="0">
              <a:spcBef>
                <a:spcPts val="800"/>
              </a:spcBef>
              <a:spcAft>
                <a:spcPts val="400"/>
              </a:spcAft>
              <a:buFont typeface="Arial" pitchFamily="34" charset="0"/>
              <a:buNone/>
              <a:defRPr lang="de-DE" b="0" dirty="0">
                <a:solidFill>
                  <a:srgbClr val="444B52"/>
                </a:solidFill>
              </a:defRPr>
            </a:lvl2pPr>
            <a:lvl3pPr marL="180000" lvl="2" indent="-180000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dirty="0">
                <a:solidFill>
                  <a:srgbClr val="444B52"/>
                </a:solidFill>
              </a:defRPr>
            </a:lvl3pPr>
            <a:lvl4pPr marL="360000" lvl="3" indent="-180000">
              <a:spcBef>
                <a:spcPts val="400"/>
              </a:spcBef>
              <a:spcAft>
                <a:spcPts val="0"/>
              </a:spcAft>
              <a:buClrTx/>
              <a:buFont typeface="Arial" panose="020B0604020202020204" pitchFamily="34" charset="0"/>
              <a:buChar char="-"/>
              <a:defRPr lang="de-DE" dirty="0">
                <a:solidFill>
                  <a:srgbClr val="444B52"/>
                </a:solidFill>
              </a:defRPr>
            </a:lvl4pPr>
            <a:lvl5pPr marL="360000" lvl="4" indent="-180000"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-"/>
              <a:defRPr>
                <a:solidFill>
                  <a:srgbClr val="444B52"/>
                </a:solidFill>
              </a:defRPr>
            </a:lvl5pPr>
            <a:lvl6pPr marL="540000" indent="-18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baseline="0">
                <a:solidFill>
                  <a:srgbClr val="444B52"/>
                </a:solidFill>
              </a:defRPr>
            </a:lvl6pPr>
            <a:lvl7pPr marL="540000" indent="-18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baseline="0">
                <a:solidFill>
                  <a:srgbClr val="444B52"/>
                </a:solidFill>
              </a:defRPr>
            </a:lvl7pPr>
            <a:lvl8pPr marL="540000" indent="-18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baseline="0">
                <a:solidFill>
                  <a:srgbClr val="444B52"/>
                </a:solidFill>
              </a:defRPr>
            </a:lvl8pPr>
            <a:lvl9pPr marL="540000" indent="-18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baseline="0">
                <a:solidFill>
                  <a:srgbClr val="444B52"/>
                </a:solidFill>
              </a:defRPr>
            </a:lvl9pPr>
          </a:lstStyle>
          <a:p>
            <a:pPr marL="180975" lvl="1">
              <a:spcBef>
                <a:spcPts val="600"/>
              </a:spcBef>
              <a:spcAft>
                <a:spcPts val="0"/>
              </a:spcAft>
            </a:pPr>
            <a:r>
              <a:rPr lang="de-DE" spc="-20" dirty="0">
                <a:solidFill>
                  <a:schemeClr val="tx2"/>
                </a:solidFill>
                <a:latin typeface="+mj-lt"/>
              </a:rPr>
              <a:t>Eingabe in PowerPoint: Datei </a:t>
            </a:r>
            <a:r>
              <a:rPr lang="de-DE" spc="-20" dirty="0">
                <a:solidFill>
                  <a:schemeClr val="tx2"/>
                </a:solidFill>
                <a:latin typeface="+mj-lt"/>
                <a:sym typeface="Wingdings 3" panose="05040102010807070707" pitchFamily="18" charset="2"/>
              </a:rPr>
              <a:t> Neu  Vorlagen  Bibliothek_Icons_Fotos</a:t>
            </a:r>
          </a:p>
          <a:p>
            <a:pPr marL="180975" lvl="1">
              <a:spcBef>
                <a:spcPts val="600"/>
              </a:spcBef>
              <a:spcAft>
                <a:spcPts val="0"/>
              </a:spcAft>
            </a:pPr>
            <a:r>
              <a:rPr lang="de-DE" spc="-20" dirty="0">
                <a:solidFill>
                  <a:schemeClr val="tx2"/>
                </a:solidFill>
                <a:latin typeface="+mj-lt"/>
              </a:rPr>
              <a:t>Notebook: C:\\Office2016\Vorlagen\Bibliothek_Icons_Fotos</a:t>
            </a:r>
          </a:p>
          <a:p>
            <a:pPr marL="180975" lvl="1">
              <a:spcBef>
                <a:spcPts val="600"/>
              </a:spcBef>
              <a:spcAft>
                <a:spcPts val="0"/>
              </a:spcAft>
            </a:pPr>
            <a:r>
              <a:rPr lang="de-DE" spc="-20" dirty="0">
                <a:solidFill>
                  <a:schemeClr val="tx2"/>
                </a:solidFill>
                <a:latin typeface="+mj-lt"/>
              </a:rPr>
              <a:t>Citrix: U:\\Office2016\Vorlagen\Bibliothek_Icons_Fotos</a:t>
            </a:r>
          </a:p>
        </p:txBody>
      </p:sp>
      <p:pic>
        <p:nvPicPr>
          <p:cNvPr id="11" name="Grafik 10" descr="Nach rechts zeigender Finger, Handrücken mit einfarbiger Füllung">
            <a:extLst>
              <a:ext uri="{FF2B5EF4-FFF2-40B4-BE49-F238E27FC236}">
                <a16:creationId xmlns:a16="http://schemas.microsoft.com/office/drawing/2014/main" id="{E87AA4D2-444E-4EA8-B65A-ADCD3FF6151E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 bwMode="gray">
          <a:xfrm rot="18900000">
            <a:off x="3480576" y="4700421"/>
            <a:ext cx="576000" cy="576000"/>
          </a:xfrm>
          <a:prstGeom prst="rect">
            <a:avLst/>
          </a:prstGeom>
        </p:spPr>
      </p:pic>
      <p:pic>
        <p:nvPicPr>
          <p:cNvPr id="78" name="Grafik 77">
            <a:extLst>
              <a:ext uri="{FF2B5EF4-FFF2-40B4-BE49-F238E27FC236}">
                <a16:creationId xmlns:a16="http://schemas.microsoft.com/office/drawing/2014/main" id="{1124380B-500C-4827-8847-751A0AE636F7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13811" y="3717080"/>
            <a:ext cx="648000" cy="432000"/>
          </a:xfrm>
          <a:prstGeom prst="rect">
            <a:avLst/>
          </a:prstGeom>
        </p:spPr>
      </p:pic>
      <p:pic>
        <p:nvPicPr>
          <p:cNvPr id="79" name="Grafik 78">
            <a:extLst>
              <a:ext uri="{FF2B5EF4-FFF2-40B4-BE49-F238E27FC236}">
                <a16:creationId xmlns:a16="http://schemas.microsoft.com/office/drawing/2014/main" id="{D69632E4-5AC8-4E4A-B97A-C69017A09BFC}"/>
              </a:ext>
            </a:extLst>
          </p:cNvPr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284950" y="3717032"/>
            <a:ext cx="648000" cy="432000"/>
          </a:xfrm>
          <a:prstGeom prst="rect">
            <a:avLst/>
          </a:prstGeom>
        </p:spPr>
      </p:pic>
      <p:pic>
        <p:nvPicPr>
          <p:cNvPr id="80" name="Grafik 79">
            <a:extLst>
              <a:ext uri="{FF2B5EF4-FFF2-40B4-BE49-F238E27FC236}">
                <a16:creationId xmlns:a16="http://schemas.microsoft.com/office/drawing/2014/main" id="{9734F100-B402-4805-8BD9-789E2FE38CD5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13811" y="3141032"/>
            <a:ext cx="648000" cy="432000"/>
          </a:xfrm>
          <a:prstGeom prst="rect">
            <a:avLst/>
          </a:prstGeom>
        </p:spPr>
      </p:pic>
      <p:pic>
        <p:nvPicPr>
          <p:cNvPr id="83" name="Grafik 82">
            <a:extLst>
              <a:ext uri="{FF2B5EF4-FFF2-40B4-BE49-F238E27FC236}">
                <a16:creationId xmlns:a16="http://schemas.microsoft.com/office/drawing/2014/main" id="{8DDEE457-9EC5-414B-809B-16DC29E2B41E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284799" y="3141032"/>
            <a:ext cx="648000" cy="432000"/>
          </a:xfrm>
          <a:prstGeom prst="rect">
            <a:avLst/>
          </a:prstGeom>
        </p:spPr>
      </p:pic>
      <p:pic>
        <p:nvPicPr>
          <p:cNvPr id="85" name="Grafik 84">
            <a:extLst>
              <a:ext uri="{FF2B5EF4-FFF2-40B4-BE49-F238E27FC236}">
                <a16:creationId xmlns:a16="http://schemas.microsoft.com/office/drawing/2014/main" id="{65C58207-89A4-42D4-B2F1-92DF122BE293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457611" y="3141032"/>
            <a:ext cx="646176" cy="432816"/>
          </a:xfrm>
          <a:prstGeom prst="rect">
            <a:avLst/>
          </a:prstGeom>
        </p:spPr>
      </p:pic>
      <p:pic>
        <p:nvPicPr>
          <p:cNvPr id="86" name="Grafik 85">
            <a:extLst>
              <a:ext uri="{FF2B5EF4-FFF2-40B4-BE49-F238E27FC236}">
                <a16:creationId xmlns:a16="http://schemas.microsoft.com/office/drawing/2014/main" id="{0A3456C3-04C1-4BEF-9D82-B05BF1867507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457611" y="3717032"/>
            <a:ext cx="646479" cy="432000"/>
          </a:xfrm>
          <a:prstGeom prst="rect">
            <a:avLst/>
          </a:prstGeom>
        </p:spPr>
      </p:pic>
      <p:grpSp>
        <p:nvGrpSpPr>
          <p:cNvPr id="82" name="Gruppieren 146">
            <a:extLst>
              <a:ext uri="{FF2B5EF4-FFF2-40B4-BE49-F238E27FC236}">
                <a16:creationId xmlns:a16="http://schemas.microsoft.com/office/drawing/2014/main" id="{702DF583-A5B4-47FC-A221-B51B73CBFAEC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 bwMode="gray">
          <a:xfrm>
            <a:off x="9337947" y="3717088"/>
            <a:ext cx="504000" cy="504000"/>
            <a:chOff x="4797302" y="4636890"/>
            <a:chExt cx="680476" cy="680476"/>
          </a:xfrm>
        </p:grpSpPr>
        <p:sp>
          <p:nvSpPr>
            <p:cNvPr id="84" name="Abgerundetes Rechteck 145">
              <a:extLst>
                <a:ext uri="{FF2B5EF4-FFF2-40B4-BE49-F238E27FC236}">
                  <a16:creationId xmlns:a16="http://schemas.microsoft.com/office/drawing/2014/main" id="{9241810C-686D-4571-A03A-AA961327D914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 bwMode="gray">
            <a:xfrm>
              <a:off x="4797302" y="4636890"/>
              <a:ext cx="680476" cy="680476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lIns="90000" tIns="108000" rIns="90000" bIns="46800" rtlCol="0" anchor="t" anchorCtr="0"/>
            <a:lstStyle/>
            <a:p>
              <a:pPr>
                <a:buClr>
                  <a:srgbClr val="FF0000"/>
                </a:buClr>
                <a:buSzPct val="250000"/>
                <a:tabLst>
                  <a:tab pos="90000" algn="l"/>
                </a:tabLst>
              </a:pPr>
              <a:endParaRPr lang="de-DE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7" name="Freeform 61">
              <a:extLst>
                <a:ext uri="{FF2B5EF4-FFF2-40B4-BE49-F238E27FC236}">
                  <a16:creationId xmlns:a16="http://schemas.microsoft.com/office/drawing/2014/main" id="{53177DDE-DEE2-43F9-9852-D861A48A1BD4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4835407" y="4890584"/>
              <a:ext cx="612428" cy="261856"/>
            </a:xfrm>
            <a:custGeom>
              <a:avLst/>
              <a:gdLst>
                <a:gd name="T0" fmla="*/ 231 w 339"/>
                <a:gd name="T1" fmla="*/ 56 h 145"/>
                <a:gd name="T2" fmla="*/ 248 w 339"/>
                <a:gd name="T3" fmla="*/ 13 h 145"/>
                <a:gd name="T4" fmla="*/ 264 w 339"/>
                <a:gd name="T5" fmla="*/ 0 h 145"/>
                <a:gd name="T6" fmla="*/ 278 w 339"/>
                <a:gd name="T7" fmla="*/ 5 h 145"/>
                <a:gd name="T8" fmla="*/ 281 w 339"/>
                <a:gd name="T9" fmla="*/ 25 h 145"/>
                <a:gd name="T10" fmla="*/ 259 w 339"/>
                <a:gd name="T11" fmla="*/ 79 h 145"/>
                <a:gd name="T12" fmla="*/ 243 w 339"/>
                <a:gd name="T13" fmla="*/ 91 h 145"/>
                <a:gd name="T14" fmla="*/ 177 w 339"/>
                <a:gd name="T15" fmla="*/ 95 h 145"/>
                <a:gd name="T16" fmla="*/ 164 w 339"/>
                <a:gd name="T17" fmla="*/ 91 h 145"/>
                <a:gd name="T18" fmla="*/ 124 w 339"/>
                <a:gd name="T19" fmla="*/ 56 h 145"/>
                <a:gd name="T20" fmla="*/ 231 w 339"/>
                <a:gd name="T21" fmla="*/ 56 h 145"/>
                <a:gd name="T22" fmla="*/ 54 w 339"/>
                <a:gd name="T23" fmla="*/ 56 h 145"/>
                <a:gd name="T24" fmla="*/ 34 w 339"/>
                <a:gd name="T25" fmla="*/ 72 h 145"/>
                <a:gd name="T26" fmla="*/ 108 w 339"/>
                <a:gd name="T27" fmla="*/ 145 h 145"/>
                <a:gd name="T28" fmla="*/ 151 w 339"/>
                <a:gd name="T29" fmla="*/ 97 h 145"/>
                <a:gd name="T30" fmla="*/ 106 w 339"/>
                <a:gd name="T31" fmla="*/ 56 h 145"/>
                <a:gd name="T32" fmla="*/ 54 w 339"/>
                <a:gd name="T33" fmla="*/ 56 h 145"/>
                <a:gd name="T34" fmla="*/ 222 w 339"/>
                <a:gd name="T35" fmla="*/ 44 h 145"/>
                <a:gd name="T36" fmla="*/ 7 w 339"/>
                <a:gd name="T37" fmla="*/ 44 h 145"/>
                <a:gd name="T38" fmla="*/ 0 w 339"/>
                <a:gd name="T39" fmla="*/ 34 h 145"/>
                <a:gd name="T40" fmla="*/ 8 w 339"/>
                <a:gd name="T41" fmla="*/ 24 h 145"/>
                <a:gd name="T42" fmla="*/ 230 w 339"/>
                <a:gd name="T43" fmla="*/ 24 h 145"/>
                <a:gd name="T44" fmla="*/ 222 w 339"/>
                <a:gd name="T45" fmla="*/ 44 h 145"/>
                <a:gd name="T46" fmla="*/ 339 w 339"/>
                <a:gd name="T47" fmla="*/ 31 h 145"/>
                <a:gd name="T48" fmla="*/ 331 w 339"/>
                <a:gd name="T49" fmla="*/ 24 h 145"/>
                <a:gd name="T50" fmla="*/ 293 w 339"/>
                <a:gd name="T51" fmla="*/ 24 h 145"/>
                <a:gd name="T52" fmla="*/ 285 w 339"/>
                <a:gd name="T53" fmla="*/ 44 h 145"/>
                <a:gd name="T54" fmla="*/ 331 w 339"/>
                <a:gd name="T55" fmla="*/ 44 h 145"/>
                <a:gd name="T56" fmla="*/ 339 w 339"/>
                <a:gd name="T57" fmla="*/ 37 h 145"/>
                <a:gd name="T58" fmla="*/ 339 w 339"/>
                <a:gd name="T59" fmla="*/ 31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39" h="145">
                  <a:moveTo>
                    <a:pt x="231" y="56"/>
                  </a:moveTo>
                  <a:cubicBezTo>
                    <a:pt x="248" y="13"/>
                    <a:pt x="248" y="13"/>
                    <a:pt x="248" y="13"/>
                  </a:cubicBezTo>
                  <a:cubicBezTo>
                    <a:pt x="248" y="13"/>
                    <a:pt x="252" y="1"/>
                    <a:pt x="264" y="0"/>
                  </a:cubicBezTo>
                  <a:cubicBezTo>
                    <a:pt x="265" y="0"/>
                    <a:pt x="272" y="1"/>
                    <a:pt x="278" y="5"/>
                  </a:cubicBezTo>
                  <a:cubicBezTo>
                    <a:pt x="287" y="12"/>
                    <a:pt x="281" y="25"/>
                    <a:pt x="281" y="25"/>
                  </a:cubicBezTo>
                  <a:cubicBezTo>
                    <a:pt x="259" y="79"/>
                    <a:pt x="259" y="79"/>
                    <a:pt x="259" y="79"/>
                  </a:cubicBezTo>
                  <a:cubicBezTo>
                    <a:pt x="259" y="79"/>
                    <a:pt x="254" y="91"/>
                    <a:pt x="243" y="91"/>
                  </a:cubicBezTo>
                  <a:cubicBezTo>
                    <a:pt x="177" y="95"/>
                    <a:pt x="177" y="95"/>
                    <a:pt x="177" y="95"/>
                  </a:cubicBezTo>
                  <a:cubicBezTo>
                    <a:pt x="167" y="96"/>
                    <a:pt x="164" y="91"/>
                    <a:pt x="164" y="91"/>
                  </a:cubicBezTo>
                  <a:cubicBezTo>
                    <a:pt x="124" y="56"/>
                    <a:pt x="124" y="56"/>
                    <a:pt x="124" y="56"/>
                  </a:cubicBezTo>
                  <a:lnTo>
                    <a:pt x="231" y="56"/>
                  </a:lnTo>
                  <a:close/>
                  <a:moveTo>
                    <a:pt x="54" y="56"/>
                  </a:moveTo>
                  <a:cubicBezTo>
                    <a:pt x="34" y="72"/>
                    <a:pt x="34" y="72"/>
                    <a:pt x="34" y="72"/>
                  </a:cubicBezTo>
                  <a:cubicBezTo>
                    <a:pt x="108" y="145"/>
                    <a:pt x="108" y="145"/>
                    <a:pt x="108" y="145"/>
                  </a:cubicBezTo>
                  <a:cubicBezTo>
                    <a:pt x="151" y="97"/>
                    <a:pt x="151" y="97"/>
                    <a:pt x="151" y="97"/>
                  </a:cubicBezTo>
                  <a:cubicBezTo>
                    <a:pt x="106" y="56"/>
                    <a:pt x="106" y="56"/>
                    <a:pt x="106" y="56"/>
                  </a:cubicBezTo>
                  <a:lnTo>
                    <a:pt x="54" y="56"/>
                  </a:lnTo>
                  <a:close/>
                  <a:moveTo>
                    <a:pt x="222" y="44"/>
                  </a:moveTo>
                  <a:cubicBezTo>
                    <a:pt x="7" y="44"/>
                    <a:pt x="7" y="44"/>
                    <a:pt x="7" y="44"/>
                  </a:cubicBezTo>
                  <a:cubicBezTo>
                    <a:pt x="7" y="44"/>
                    <a:pt x="0" y="45"/>
                    <a:pt x="0" y="34"/>
                  </a:cubicBezTo>
                  <a:cubicBezTo>
                    <a:pt x="0" y="24"/>
                    <a:pt x="8" y="24"/>
                    <a:pt x="8" y="24"/>
                  </a:cubicBezTo>
                  <a:cubicBezTo>
                    <a:pt x="230" y="24"/>
                    <a:pt x="230" y="24"/>
                    <a:pt x="230" y="24"/>
                  </a:cubicBezTo>
                  <a:lnTo>
                    <a:pt x="222" y="44"/>
                  </a:lnTo>
                  <a:close/>
                  <a:moveTo>
                    <a:pt x="339" y="31"/>
                  </a:moveTo>
                  <a:cubicBezTo>
                    <a:pt x="338" y="24"/>
                    <a:pt x="331" y="24"/>
                    <a:pt x="331" y="24"/>
                  </a:cubicBezTo>
                  <a:cubicBezTo>
                    <a:pt x="293" y="24"/>
                    <a:pt x="293" y="24"/>
                    <a:pt x="293" y="24"/>
                  </a:cubicBezTo>
                  <a:cubicBezTo>
                    <a:pt x="285" y="44"/>
                    <a:pt x="285" y="44"/>
                    <a:pt x="285" y="44"/>
                  </a:cubicBezTo>
                  <a:cubicBezTo>
                    <a:pt x="331" y="44"/>
                    <a:pt x="331" y="44"/>
                    <a:pt x="331" y="44"/>
                  </a:cubicBezTo>
                  <a:cubicBezTo>
                    <a:pt x="331" y="44"/>
                    <a:pt x="338" y="44"/>
                    <a:pt x="339" y="37"/>
                  </a:cubicBezTo>
                  <a:cubicBezTo>
                    <a:pt x="339" y="35"/>
                    <a:pt x="339" y="33"/>
                    <a:pt x="339" y="31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101" name="Gruppieren 161">
            <a:extLst>
              <a:ext uri="{FF2B5EF4-FFF2-40B4-BE49-F238E27FC236}">
                <a16:creationId xmlns:a16="http://schemas.microsoft.com/office/drawing/2014/main" id="{C1E099FE-F295-469B-912F-0D5DAACE9982}"/>
              </a:ext>
            </a:extLst>
          </p:cNvPr>
          <p:cNvGrpSpPr>
            <a:grpSpLocks noChangeAspect="1"/>
          </p:cNvGrpSpPr>
          <p:nvPr>
            <p:custDataLst>
              <p:tags r:id="rId15"/>
            </p:custDataLst>
          </p:nvPr>
        </p:nvGrpSpPr>
        <p:grpSpPr bwMode="gray">
          <a:xfrm>
            <a:off x="10634129" y="3717088"/>
            <a:ext cx="504000" cy="504000"/>
            <a:chOff x="4797302" y="3268738"/>
            <a:chExt cx="680476" cy="680476"/>
          </a:xfrm>
        </p:grpSpPr>
        <p:sp>
          <p:nvSpPr>
            <p:cNvPr id="102" name="Abgerundetes Rechteck 145">
              <a:extLst>
                <a:ext uri="{FF2B5EF4-FFF2-40B4-BE49-F238E27FC236}">
                  <a16:creationId xmlns:a16="http://schemas.microsoft.com/office/drawing/2014/main" id="{7B711B45-E93A-4EEC-8A38-179865B08BEE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 bwMode="gray">
            <a:xfrm>
              <a:off x="4797302" y="3268738"/>
              <a:ext cx="680476" cy="680476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lIns="90000" tIns="108000" rIns="90000" bIns="46800" rtlCol="0" anchor="t" anchorCtr="0"/>
            <a:lstStyle/>
            <a:p>
              <a:pPr>
                <a:buClr>
                  <a:srgbClr val="FF0000"/>
                </a:buClr>
                <a:buSzPct val="250000"/>
                <a:tabLst>
                  <a:tab pos="90000" algn="l"/>
                </a:tabLst>
              </a:pPr>
              <a:endParaRPr lang="de-DE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3" name="Freihandform 140">
              <a:extLst>
                <a:ext uri="{FF2B5EF4-FFF2-40B4-BE49-F238E27FC236}">
                  <a16:creationId xmlns:a16="http://schemas.microsoft.com/office/drawing/2014/main" id="{45734B12-196E-40B2-946C-D2C1B1CCDD6F}"/>
                </a:ext>
              </a:extLst>
            </p:cNvPr>
            <p:cNvSpPr/>
            <p:nvPr/>
          </p:nvSpPr>
          <p:spPr bwMode="gray">
            <a:xfrm>
              <a:off x="4905381" y="3353134"/>
              <a:ext cx="464319" cy="513748"/>
            </a:xfrm>
            <a:custGeom>
              <a:avLst/>
              <a:gdLst/>
              <a:ahLst/>
              <a:cxnLst/>
              <a:rect l="l" t="t" r="r" b="b"/>
              <a:pathLst>
                <a:path w="2985810" h="3303666">
                  <a:moveTo>
                    <a:pt x="1409093" y="2942674"/>
                  </a:moveTo>
                  <a:lnTo>
                    <a:pt x="1664710" y="2944292"/>
                  </a:lnTo>
                  <a:cubicBezTo>
                    <a:pt x="1751713" y="2970970"/>
                    <a:pt x="1772041" y="3013523"/>
                    <a:pt x="1773319" y="3052901"/>
                  </a:cubicBezTo>
                  <a:lnTo>
                    <a:pt x="1773319" y="3196674"/>
                  </a:lnTo>
                  <a:cubicBezTo>
                    <a:pt x="1750874" y="3261971"/>
                    <a:pt x="1731605" y="3285994"/>
                    <a:pt x="1667885" y="3303666"/>
                  </a:cubicBezTo>
                  <a:lnTo>
                    <a:pt x="1404300" y="3302108"/>
                  </a:lnTo>
                  <a:cubicBezTo>
                    <a:pt x="1331016" y="3292363"/>
                    <a:pt x="1292656" y="3250869"/>
                    <a:pt x="1279697" y="3196674"/>
                  </a:cubicBezTo>
                  <a:lnTo>
                    <a:pt x="1279697" y="3062486"/>
                  </a:lnTo>
                  <a:cubicBezTo>
                    <a:pt x="1294254" y="3000324"/>
                    <a:pt x="1331036" y="2960386"/>
                    <a:pt x="1409093" y="2942674"/>
                  </a:cubicBezTo>
                  <a:close/>
                  <a:moveTo>
                    <a:pt x="1830664" y="1465105"/>
                  </a:moveTo>
                  <a:cubicBezTo>
                    <a:pt x="1920144" y="1465105"/>
                    <a:pt x="1992682" y="1537643"/>
                    <a:pt x="1992682" y="1627123"/>
                  </a:cubicBezTo>
                  <a:cubicBezTo>
                    <a:pt x="1992682" y="1716603"/>
                    <a:pt x="1920144" y="1789141"/>
                    <a:pt x="1830664" y="1789141"/>
                  </a:cubicBezTo>
                  <a:cubicBezTo>
                    <a:pt x="1741184" y="1789141"/>
                    <a:pt x="1668646" y="1716603"/>
                    <a:pt x="1668646" y="1627123"/>
                  </a:cubicBezTo>
                  <a:cubicBezTo>
                    <a:pt x="1668646" y="1537643"/>
                    <a:pt x="1741184" y="1465105"/>
                    <a:pt x="1830664" y="1465105"/>
                  </a:cubicBezTo>
                  <a:close/>
                  <a:moveTo>
                    <a:pt x="1097693" y="1464445"/>
                  </a:moveTo>
                  <a:cubicBezTo>
                    <a:pt x="1187173" y="1464445"/>
                    <a:pt x="1259711" y="1536983"/>
                    <a:pt x="1259711" y="1626463"/>
                  </a:cubicBezTo>
                  <a:cubicBezTo>
                    <a:pt x="1259711" y="1715943"/>
                    <a:pt x="1187173" y="1788481"/>
                    <a:pt x="1097693" y="1788481"/>
                  </a:cubicBezTo>
                  <a:cubicBezTo>
                    <a:pt x="1008213" y="1788481"/>
                    <a:pt x="935675" y="1715943"/>
                    <a:pt x="935675" y="1626463"/>
                  </a:cubicBezTo>
                  <a:cubicBezTo>
                    <a:pt x="935675" y="1536983"/>
                    <a:pt x="1008213" y="1464445"/>
                    <a:pt x="1097693" y="1464445"/>
                  </a:cubicBezTo>
                  <a:close/>
                  <a:moveTo>
                    <a:pt x="939074" y="879105"/>
                  </a:moveTo>
                  <a:cubicBezTo>
                    <a:pt x="880866" y="1238938"/>
                    <a:pt x="651207" y="1528922"/>
                    <a:pt x="519974" y="1663330"/>
                  </a:cubicBezTo>
                  <a:cubicBezTo>
                    <a:pt x="543257" y="1914155"/>
                    <a:pt x="639566" y="2139580"/>
                    <a:pt x="875574" y="2339605"/>
                  </a:cubicBezTo>
                  <a:cubicBezTo>
                    <a:pt x="1278799" y="2612655"/>
                    <a:pt x="1612174" y="2603130"/>
                    <a:pt x="2024924" y="2365005"/>
                  </a:cubicBezTo>
                  <a:cubicBezTo>
                    <a:pt x="2321257" y="2152280"/>
                    <a:pt x="2496941" y="1704605"/>
                    <a:pt x="2386874" y="1304555"/>
                  </a:cubicBezTo>
                  <a:cubicBezTo>
                    <a:pt x="1716949" y="1546913"/>
                    <a:pt x="1123224" y="1128872"/>
                    <a:pt x="939074" y="879105"/>
                  </a:cubicBezTo>
                  <a:close/>
                  <a:moveTo>
                    <a:pt x="1469091" y="342365"/>
                  </a:moveTo>
                  <a:cubicBezTo>
                    <a:pt x="1979291" y="366556"/>
                    <a:pt x="2377333" y="677733"/>
                    <a:pt x="2580753" y="1272599"/>
                  </a:cubicBezTo>
                  <a:cubicBezTo>
                    <a:pt x="2638351" y="1520002"/>
                    <a:pt x="2682560" y="1735096"/>
                    <a:pt x="2686312" y="2014807"/>
                  </a:cubicBezTo>
                  <a:cubicBezTo>
                    <a:pt x="2685212" y="2409552"/>
                    <a:pt x="2456503" y="2579984"/>
                    <a:pt x="2099143" y="2555794"/>
                  </a:cubicBezTo>
                  <a:cubicBezTo>
                    <a:pt x="1900121" y="2693240"/>
                    <a:pt x="1648320" y="2728425"/>
                    <a:pt x="1462493" y="2740521"/>
                  </a:cubicBezTo>
                  <a:cubicBezTo>
                    <a:pt x="1219489" y="2727326"/>
                    <a:pt x="999575" y="2664651"/>
                    <a:pt x="832441" y="2552495"/>
                  </a:cubicBezTo>
                  <a:cubicBezTo>
                    <a:pt x="487177" y="2579984"/>
                    <a:pt x="293653" y="2406252"/>
                    <a:pt x="261766" y="2051092"/>
                  </a:cubicBezTo>
                  <a:cubicBezTo>
                    <a:pt x="247278" y="1799291"/>
                    <a:pt x="312346" y="1514988"/>
                    <a:pt x="345107" y="1332848"/>
                  </a:cubicBezTo>
                  <a:cubicBezTo>
                    <a:pt x="548527" y="674207"/>
                    <a:pt x="929203" y="364357"/>
                    <a:pt x="1469091" y="342365"/>
                  </a:cubicBezTo>
                  <a:close/>
                  <a:moveTo>
                    <a:pt x="1487330" y="49"/>
                  </a:moveTo>
                  <a:cubicBezTo>
                    <a:pt x="2280781" y="-6321"/>
                    <a:pt x="2973110" y="606854"/>
                    <a:pt x="2981017" y="1457015"/>
                  </a:cubicBezTo>
                  <a:cubicBezTo>
                    <a:pt x="2982615" y="1862776"/>
                    <a:pt x="2984212" y="2211027"/>
                    <a:pt x="2985810" y="2616788"/>
                  </a:cubicBezTo>
                  <a:cubicBezTo>
                    <a:pt x="2937885" y="3100825"/>
                    <a:pt x="2592828" y="3191883"/>
                    <a:pt x="2386752" y="3215846"/>
                  </a:cubicBezTo>
                  <a:lnTo>
                    <a:pt x="1965017" y="3215845"/>
                  </a:lnTo>
                  <a:cubicBezTo>
                    <a:pt x="1893131" y="3166324"/>
                    <a:pt x="1888338" y="3073669"/>
                    <a:pt x="1965017" y="3052902"/>
                  </a:cubicBezTo>
                  <a:lnTo>
                    <a:pt x="2362791" y="3052902"/>
                  </a:lnTo>
                  <a:cubicBezTo>
                    <a:pt x="2789319" y="3017758"/>
                    <a:pt x="2813283" y="2699858"/>
                    <a:pt x="2822866" y="2597619"/>
                  </a:cubicBezTo>
                  <a:cubicBezTo>
                    <a:pt x="2821269" y="2180676"/>
                    <a:pt x="2816496" y="1888036"/>
                    <a:pt x="2814899" y="1471093"/>
                  </a:cubicBezTo>
                  <a:cubicBezTo>
                    <a:pt x="2763740" y="468212"/>
                    <a:pt x="1932787" y="140647"/>
                    <a:pt x="1487509" y="161435"/>
                  </a:cubicBezTo>
                  <a:cubicBezTo>
                    <a:pt x="1163221" y="135875"/>
                    <a:pt x="209382" y="399480"/>
                    <a:pt x="163055" y="1504939"/>
                  </a:cubicBezTo>
                  <a:cubicBezTo>
                    <a:pt x="108741" y="1611971"/>
                    <a:pt x="30463" y="1580021"/>
                    <a:pt x="112" y="1524109"/>
                  </a:cubicBezTo>
                  <a:cubicBezTo>
                    <a:pt x="-11071" y="511146"/>
                    <a:pt x="814990" y="-1528"/>
                    <a:pt x="1487330" y="49"/>
                  </a:cubicBezTo>
                  <a:close/>
                </a:path>
              </a:pathLst>
            </a:custGeom>
            <a:solidFill>
              <a:schemeClr val="tx1"/>
            </a:solidFill>
            <a:ln w="3175" cmpd="sng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rgbClr val="B5BCC3"/>
                </a:solidFill>
              </a:endParaRPr>
            </a:p>
          </p:txBody>
        </p:sp>
      </p:grpSp>
      <p:grpSp>
        <p:nvGrpSpPr>
          <p:cNvPr id="104" name="Gruppieren 192">
            <a:extLst>
              <a:ext uri="{FF2B5EF4-FFF2-40B4-BE49-F238E27FC236}">
                <a16:creationId xmlns:a16="http://schemas.microsoft.com/office/drawing/2014/main" id="{1AA12173-D742-4D4C-AFE7-EF5AD49196A6}"/>
              </a:ext>
            </a:extLst>
          </p:cNvPr>
          <p:cNvGrpSpPr>
            <a:grpSpLocks noChangeAspect="1"/>
          </p:cNvGrpSpPr>
          <p:nvPr>
            <p:custDataLst>
              <p:tags r:id="rId16"/>
            </p:custDataLst>
          </p:nvPr>
        </p:nvGrpSpPr>
        <p:grpSpPr bwMode="gray">
          <a:xfrm>
            <a:off x="11282219" y="3717088"/>
            <a:ext cx="504000" cy="504000"/>
            <a:chOff x="2876992" y="3268738"/>
            <a:chExt cx="680476" cy="680476"/>
          </a:xfrm>
        </p:grpSpPr>
        <p:sp>
          <p:nvSpPr>
            <p:cNvPr id="105" name="Abgerundetes Rechteck 145">
              <a:extLst>
                <a:ext uri="{FF2B5EF4-FFF2-40B4-BE49-F238E27FC236}">
                  <a16:creationId xmlns:a16="http://schemas.microsoft.com/office/drawing/2014/main" id="{9B418BBE-9F19-4CF4-B382-14B585B26797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2876992" y="3268738"/>
              <a:ext cx="680476" cy="680476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lIns="90000" tIns="108000" rIns="90000" bIns="46800" rtlCol="0" anchor="t" anchorCtr="0"/>
            <a:lstStyle/>
            <a:p>
              <a:pPr>
                <a:buClr>
                  <a:srgbClr val="FF0000"/>
                </a:buClr>
                <a:buSzPct val="250000"/>
                <a:tabLst>
                  <a:tab pos="90000" algn="l"/>
                </a:tabLst>
              </a:pPr>
              <a:endParaRPr lang="de-DE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" name="Freeform 110">
              <a:extLst>
                <a:ext uri="{FF2B5EF4-FFF2-40B4-BE49-F238E27FC236}">
                  <a16:creationId xmlns:a16="http://schemas.microsoft.com/office/drawing/2014/main" id="{95435755-F557-4578-869C-3171EE5A2F1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16464" y="3293911"/>
              <a:ext cx="588335" cy="548551"/>
            </a:xfrm>
            <a:custGeom>
              <a:avLst/>
              <a:gdLst>
                <a:gd name="T0" fmla="*/ 91 w 295"/>
                <a:gd name="T1" fmla="*/ 144 h 275"/>
                <a:gd name="T2" fmla="*/ 61 w 295"/>
                <a:gd name="T3" fmla="*/ 115 h 275"/>
                <a:gd name="T4" fmla="*/ 32 w 295"/>
                <a:gd name="T5" fmla="*/ 144 h 275"/>
                <a:gd name="T6" fmla="*/ 61 w 295"/>
                <a:gd name="T7" fmla="*/ 174 h 275"/>
                <a:gd name="T8" fmla="*/ 101 w 295"/>
                <a:gd name="T9" fmla="*/ 185 h 275"/>
                <a:gd name="T10" fmla="*/ 60 w 295"/>
                <a:gd name="T11" fmla="*/ 183 h 275"/>
                <a:gd name="T12" fmla="*/ 36 w 295"/>
                <a:gd name="T13" fmla="*/ 175 h 275"/>
                <a:gd name="T14" fmla="*/ 23 w 295"/>
                <a:gd name="T15" fmla="*/ 251 h 275"/>
                <a:gd name="T16" fmla="*/ 77 w 295"/>
                <a:gd name="T17" fmla="*/ 224 h 275"/>
                <a:gd name="T18" fmla="*/ 124 w 295"/>
                <a:gd name="T19" fmla="*/ 186 h 275"/>
                <a:gd name="T20" fmla="*/ 109 w 295"/>
                <a:gd name="T21" fmla="*/ 275 h 275"/>
                <a:gd name="T22" fmla="*/ 215 w 295"/>
                <a:gd name="T23" fmla="*/ 226 h 275"/>
                <a:gd name="T24" fmla="*/ 160 w 295"/>
                <a:gd name="T25" fmla="*/ 194 h 275"/>
                <a:gd name="T26" fmla="*/ 167 w 295"/>
                <a:gd name="T27" fmla="*/ 248 h 275"/>
                <a:gd name="T28" fmla="*/ 136 w 295"/>
                <a:gd name="T29" fmla="*/ 248 h 275"/>
                <a:gd name="T30" fmla="*/ 143 w 295"/>
                <a:gd name="T31" fmla="*/ 194 h 275"/>
                <a:gd name="T32" fmla="*/ 124 w 295"/>
                <a:gd name="T33" fmla="*/ 186 h 275"/>
                <a:gd name="T34" fmla="*/ 160 w 295"/>
                <a:gd name="T35" fmla="*/ 10 h 275"/>
                <a:gd name="T36" fmla="*/ 157 w 295"/>
                <a:gd name="T37" fmla="*/ 3 h 275"/>
                <a:gd name="T38" fmla="*/ 150 w 295"/>
                <a:gd name="T39" fmla="*/ 0 h 275"/>
                <a:gd name="T40" fmla="*/ 143 w 295"/>
                <a:gd name="T41" fmla="*/ 3 h 275"/>
                <a:gd name="T42" fmla="*/ 140 w 295"/>
                <a:gd name="T43" fmla="*/ 10 h 275"/>
                <a:gd name="T44" fmla="*/ 143 w 295"/>
                <a:gd name="T45" fmla="*/ 17 h 275"/>
                <a:gd name="T46" fmla="*/ 150 w 295"/>
                <a:gd name="T47" fmla="*/ 20 h 275"/>
                <a:gd name="T48" fmla="*/ 157 w 295"/>
                <a:gd name="T49" fmla="*/ 17 h 275"/>
                <a:gd name="T50" fmla="*/ 180 w 295"/>
                <a:gd name="T51" fmla="*/ 73 h 275"/>
                <a:gd name="T52" fmla="*/ 180 w 295"/>
                <a:gd name="T53" fmla="*/ 48 h 275"/>
                <a:gd name="T54" fmla="*/ 134 w 295"/>
                <a:gd name="T55" fmla="*/ 46 h 275"/>
                <a:gd name="T56" fmla="*/ 134 w 295"/>
                <a:gd name="T57" fmla="*/ 40 h 275"/>
                <a:gd name="T58" fmla="*/ 134 w 295"/>
                <a:gd name="T59" fmla="*/ 39 h 275"/>
                <a:gd name="T60" fmla="*/ 180 w 295"/>
                <a:gd name="T61" fmla="*/ 36 h 275"/>
                <a:gd name="T62" fmla="*/ 178 w 295"/>
                <a:gd name="T63" fmla="*/ 29 h 275"/>
                <a:gd name="T64" fmla="*/ 170 w 295"/>
                <a:gd name="T65" fmla="*/ 26 h 275"/>
                <a:gd name="T66" fmla="*/ 126 w 295"/>
                <a:gd name="T67" fmla="*/ 27 h 275"/>
                <a:gd name="T68" fmla="*/ 120 w 295"/>
                <a:gd name="T69" fmla="*/ 32 h 275"/>
                <a:gd name="T70" fmla="*/ 120 w 295"/>
                <a:gd name="T71" fmla="*/ 57 h 275"/>
                <a:gd name="T72" fmla="*/ 166 w 295"/>
                <a:gd name="T73" fmla="*/ 58 h 275"/>
                <a:gd name="T74" fmla="*/ 166 w 295"/>
                <a:gd name="T75" fmla="*/ 65 h 275"/>
                <a:gd name="T76" fmla="*/ 166 w 295"/>
                <a:gd name="T77" fmla="*/ 66 h 275"/>
                <a:gd name="T78" fmla="*/ 120 w 295"/>
                <a:gd name="T79" fmla="*/ 69 h 275"/>
                <a:gd name="T80" fmla="*/ 123 w 295"/>
                <a:gd name="T81" fmla="*/ 76 h 275"/>
                <a:gd name="T82" fmla="*/ 130 w 295"/>
                <a:gd name="T83" fmla="*/ 79 h 275"/>
                <a:gd name="T84" fmla="*/ 174 w 295"/>
                <a:gd name="T85" fmla="*/ 78 h 275"/>
                <a:gd name="T86" fmla="*/ 180 w 295"/>
                <a:gd name="T87" fmla="*/ 73 h 275"/>
                <a:gd name="T88" fmla="*/ 188 w 295"/>
                <a:gd name="T89" fmla="*/ 149 h 275"/>
                <a:gd name="T90" fmla="*/ 152 w 295"/>
                <a:gd name="T91" fmla="*/ 113 h 275"/>
                <a:gd name="T92" fmla="*/ 116 w 295"/>
                <a:gd name="T93" fmla="*/ 149 h 275"/>
                <a:gd name="T94" fmla="*/ 152 w 295"/>
                <a:gd name="T95" fmla="*/ 184 h 275"/>
                <a:gd name="T96" fmla="*/ 257 w 295"/>
                <a:gd name="T97" fmla="*/ 165 h 275"/>
                <a:gd name="T98" fmla="*/ 257 w 295"/>
                <a:gd name="T99" fmla="*/ 123 h 275"/>
                <a:gd name="T100" fmla="*/ 215 w 295"/>
                <a:gd name="T101" fmla="*/ 123 h 275"/>
                <a:gd name="T102" fmla="*/ 215 w 295"/>
                <a:gd name="T103" fmla="*/ 165 h 275"/>
                <a:gd name="T104" fmla="*/ 257 w 295"/>
                <a:gd name="T105" fmla="*/ 165 h 275"/>
                <a:gd name="T106" fmla="*/ 259 w 295"/>
                <a:gd name="T107" fmla="*/ 175 h 275"/>
                <a:gd name="T108" fmla="*/ 212 w 295"/>
                <a:gd name="T109" fmla="*/ 175 h 275"/>
                <a:gd name="T110" fmla="*/ 199 w 295"/>
                <a:gd name="T111" fmla="*/ 182 h 275"/>
                <a:gd name="T112" fmla="*/ 229 w 295"/>
                <a:gd name="T113" fmla="*/ 251 h 275"/>
                <a:gd name="T114" fmla="*/ 289 w 295"/>
                <a:gd name="T115" fmla="*/ 20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95" h="275">
                  <a:moveTo>
                    <a:pt x="82" y="165"/>
                  </a:moveTo>
                  <a:cubicBezTo>
                    <a:pt x="88" y="160"/>
                    <a:pt x="91" y="152"/>
                    <a:pt x="91" y="144"/>
                  </a:cubicBezTo>
                  <a:cubicBezTo>
                    <a:pt x="91" y="136"/>
                    <a:pt x="88" y="129"/>
                    <a:pt x="82" y="123"/>
                  </a:cubicBezTo>
                  <a:cubicBezTo>
                    <a:pt x="77" y="118"/>
                    <a:pt x="69" y="115"/>
                    <a:pt x="61" y="115"/>
                  </a:cubicBezTo>
                  <a:cubicBezTo>
                    <a:pt x="54" y="115"/>
                    <a:pt x="46" y="118"/>
                    <a:pt x="41" y="123"/>
                  </a:cubicBezTo>
                  <a:cubicBezTo>
                    <a:pt x="35" y="129"/>
                    <a:pt x="32" y="136"/>
                    <a:pt x="32" y="144"/>
                  </a:cubicBezTo>
                  <a:cubicBezTo>
                    <a:pt x="32" y="152"/>
                    <a:pt x="35" y="160"/>
                    <a:pt x="41" y="165"/>
                  </a:cubicBezTo>
                  <a:cubicBezTo>
                    <a:pt x="46" y="171"/>
                    <a:pt x="54" y="174"/>
                    <a:pt x="61" y="174"/>
                  </a:cubicBezTo>
                  <a:cubicBezTo>
                    <a:pt x="69" y="174"/>
                    <a:pt x="77" y="171"/>
                    <a:pt x="82" y="165"/>
                  </a:cubicBezTo>
                  <a:moveTo>
                    <a:pt x="101" y="185"/>
                  </a:moveTo>
                  <a:cubicBezTo>
                    <a:pt x="93" y="177"/>
                    <a:pt x="84" y="175"/>
                    <a:pt x="83" y="175"/>
                  </a:cubicBezTo>
                  <a:cubicBezTo>
                    <a:pt x="76" y="180"/>
                    <a:pt x="68" y="183"/>
                    <a:pt x="60" y="183"/>
                  </a:cubicBezTo>
                  <a:cubicBezTo>
                    <a:pt x="51" y="183"/>
                    <a:pt x="43" y="180"/>
                    <a:pt x="37" y="175"/>
                  </a:cubicBezTo>
                  <a:cubicBezTo>
                    <a:pt x="36" y="175"/>
                    <a:pt x="36" y="175"/>
                    <a:pt x="36" y="175"/>
                  </a:cubicBezTo>
                  <a:cubicBezTo>
                    <a:pt x="36" y="175"/>
                    <a:pt x="13" y="180"/>
                    <a:pt x="8" y="208"/>
                  </a:cubicBezTo>
                  <a:cubicBezTo>
                    <a:pt x="0" y="246"/>
                    <a:pt x="23" y="251"/>
                    <a:pt x="23" y="251"/>
                  </a:cubicBezTo>
                  <a:cubicBezTo>
                    <a:pt x="75" y="251"/>
                    <a:pt x="75" y="251"/>
                    <a:pt x="75" y="251"/>
                  </a:cubicBezTo>
                  <a:cubicBezTo>
                    <a:pt x="75" y="244"/>
                    <a:pt x="75" y="235"/>
                    <a:pt x="77" y="224"/>
                  </a:cubicBezTo>
                  <a:cubicBezTo>
                    <a:pt x="81" y="204"/>
                    <a:pt x="91" y="191"/>
                    <a:pt x="101" y="185"/>
                  </a:cubicBezTo>
                  <a:moveTo>
                    <a:pt x="124" y="186"/>
                  </a:moveTo>
                  <a:cubicBezTo>
                    <a:pt x="124" y="186"/>
                    <a:pt x="97" y="192"/>
                    <a:pt x="91" y="225"/>
                  </a:cubicBezTo>
                  <a:cubicBezTo>
                    <a:pt x="82" y="269"/>
                    <a:pt x="109" y="275"/>
                    <a:pt x="109" y="275"/>
                  </a:cubicBezTo>
                  <a:cubicBezTo>
                    <a:pt x="198" y="275"/>
                    <a:pt x="198" y="275"/>
                    <a:pt x="198" y="275"/>
                  </a:cubicBezTo>
                  <a:cubicBezTo>
                    <a:pt x="198" y="275"/>
                    <a:pt x="221" y="267"/>
                    <a:pt x="215" y="226"/>
                  </a:cubicBezTo>
                  <a:cubicBezTo>
                    <a:pt x="209" y="193"/>
                    <a:pt x="180" y="186"/>
                    <a:pt x="179" y="186"/>
                  </a:cubicBezTo>
                  <a:cubicBezTo>
                    <a:pt x="173" y="190"/>
                    <a:pt x="167" y="193"/>
                    <a:pt x="160" y="194"/>
                  </a:cubicBezTo>
                  <a:cubicBezTo>
                    <a:pt x="163" y="199"/>
                    <a:pt x="158" y="205"/>
                    <a:pt x="158" y="205"/>
                  </a:cubicBezTo>
                  <a:cubicBezTo>
                    <a:pt x="167" y="248"/>
                    <a:pt x="167" y="248"/>
                    <a:pt x="167" y="248"/>
                  </a:cubicBezTo>
                  <a:cubicBezTo>
                    <a:pt x="167" y="248"/>
                    <a:pt x="158" y="266"/>
                    <a:pt x="152" y="266"/>
                  </a:cubicBezTo>
                  <a:cubicBezTo>
                    <a:pt x="145" y="266"/>
                    <a:pt x="136" y="248"/>
                    <a:pt x="136" y="248"/>
                  </a:cubicBezTo>
                  <a:cubicBezTo>
                    <a:pt x="146" y="205"/>
                    <a:pt x="146" y="205"/>
                    <a:pt x="146" y="205"/>
                  </a:cubicBezTo>
                  <a:cubicBezTo>
                    <a:pt x="146" y="205"/>
                    <a:pt x="141" y="199"/>
                    <a:pt x="143" y="194"/>
                  </a:cubicBezTo>
                  <a:cubicBezTo>
                    <a:pt x="136" y="193"/>
                    <a:pt x="130" y="190"/>
                    <a:pt x="125" y="186"/>
                  </a:cubicBezTo>
                  <a:lnTo>
                    <a:pt x="124" y="186"/>
                  </a:lnTo>
                  <a:close/>
                  <a:moveTo>
                    <a:pt x="159" y="14"/>
                  </a:moveTo>
                  <a:cubicBezTo>
                    <a:pt x="160" y="13"/>
                    <a:pt x="160" y="11"/>
                    <a:pt x="160" y="10"/>
                  </a:cubicBezTo>
                  <a:cubicBezTo>
                    <a:pt x="160" y="8"/>
                    <a:pt x="160" y="7"/>
                    <a:pt x="159" y="6"/>
                  </a:cubicBezTo>
                  <a:cubicBezTo>
                    <a:pt x="159" y="5"/>
                    <a:pt x="158" y="4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3" y="0"/>
                    <a:pt x="151" y="0"/>
                    <a:pt x="150" y="0"/>
                  </a:cubicBezTo>
                  <a:cubicBezTo>
                    <a:pt x="149" y="0"/>
                    <a:pt x="147" y="0"/>
                    <a:pt x="146" y="0"/>
                  </a:cubicBezTo>
                  <a:cubicBezTo>
                    <a:pt x="145" y="1"/>
                    <a:pt x="144" y="2"/>
                    <a:pt x="143" y="3"/>
                  </a:cubicBezTo>
                  <a:cubicBezTo>
                    <a:pt x="142" y="4"/>
                    <a:pt x="141" y="5"/>
                    <a:pt x="141" y="6"/>
                  </a:cubicBezTo>
                  <a:cubicBezTo>
                    <a:pt x="140" y="7"/>
                    <a:pt x="140" y="8"/>
                    <a:pt x="140" y="10"/>
                  </a:cubicBezTo>
                  <a:cubicBezTo>
                    <a:pt x="140" y="11"/>
                    <a:pt x="140" y="13"/>
                    <a:pt x="141" y="14"/>
                  </a:cubicBezTo>
                  <a:cubicBezTo>
                    <a:pt x="141" y="15"/>
                    <a:pt x="142" y="16"/>
                    <a:pt x="143" y="17"/>
                  </a:cubicBezTo>
                  <a:cubicBezTo>
                    <a:pt x="144" y="18"/>
                    <a:pt x="145" y="19"/>
                    <a:pt x="146" y="19"/>
                  </a:cubicBezTo>
                  <a:cubicBezTo>
                    <a:pt x="147" y="20"/>
                    <a:pt x="149" y="20"/>
                    <a:pt x="150" y="20"/>
                  </a:cubicBezTo>
                  <a:cubicBezTo>
                    <a:pt x="151" y="20"/>
                    <a:pt x="153" y="20"/>
                    <a:pt x="154" y="19"/>
                  </a:cubicBezTo>
                  <a:cubicBezTo>
                    <a:pt x="155" y="19"/>
                    <a:pt x="156" y="18"/>
                    <a:pt x="157" y="17"/>
                  </a:cubicBezTo>
                  <a:cubicBezTo>
                    <a:pt x="158" y="16"/>
                    <a:pt x="159" y="15"/>
                    <a:pt x="159" y="14"/>
                  </a:cubicBezTo>
                  <a:moveTo>
                    <a:pt x="180" y="73"/>
                  </a:moveTo>
                  <a:cubicBezTo>
                    <a:pt x="180" y="71"/>
                    <a:pt x="180" y="70"/>
                    <a:pt x="180" y="69"/>
                  </a:cubicBezTo>
                  <a:cubicBezTo>
                    <a:pt x="180" y="48"/>
                    <a:pt x="180" y="48"/>
                    <a:pt x="180" y="48"/>
                  </a:cubicBezTo>
                  <a:cubicBezTo>
                    <a:pt x="134" y="48"/>
                    <a:pt x="134" y="48"/>
                    <a:pt x="134" y="48"/>
                  </a:cubicBezTo>
                  <a:cubicBezTo>
                    <a:pt x="134" y="46"/>
                    <a:pt x="134" y="46"/>
                    <a:pt x="134" y="46"/>
                  </a:cubicBezTo>
                  <a:cubicBezTo>
                    <a:pt x="134" y="46"/>
                    <a:pt x="134" y="46"/>
                    <a:pt x="134" y="46"/>
                  </a:cubicBezTo>
                  <a:cubicBezTo>
                    <a:pt x="134" y="40"/>
                    <a:pt x="134" y="40"/>
                    <a:pt x="134" y="40"/>
                  </a:cubicBezTo>
                  <a:cubicBezTo>
                    <a:pt x="134" y="40"/>
                    <a:pt x="134" y="40"/>
                    <a:pt x="134" y="40"/>
                  </a:cubicBezTo>
                  <a:cubicBezTo>
                    <a:pt x="134" y="39"/>
                    <a:pt x="134" y="39"/>
                    <a:pt x="134" y="39"/>
                  </a:cubicBezTo>
                  <a:cubicBezTo>
                    <a:pt x="180" y="39"/>
                    <a:pt x="180" y="39"/>
                    <a:pt x="180" y="39"/>
                  </a:cubicBezTo>
                  <a:cubicBezTo>
                    <a:pt x="180" y="36"/>
                    <a:pt x="180" y="36"/>
                    <a:pt x="180" y="36"/>
                  </a:cubicBezTo>
                  <a:cubicBezTo>
                    <a:pt x="180" y="35"/>
                    <a:pt x="180" y="33"/>
                    <a:pt x="180" y="32"/>
                  </a:cubicBezTo>
                  <a:cubicBezTo>
                    <a:pt x="179" y="31"/>
                    <a:pt x="178" y="30"/>
                    <a:pt x="178" y="29"/>
                  </a:cubicBezTo>
                  <a:cubicBezTo>
                    <a:pt x="177" y="28"/>
                    <a:pt x="176" y="27"/>
                    <a:pt x="174" y="27"/>
                  </a:cubicBezTo>
                  <a:cubicBezTo>
                    <a:pt x="173" y="26"/>
                    <a:pt x="172" y="26"/>
                    <a:pt x="170" y="26"/>
                  </a:cubicBezTo>
                  <a:cubicBezTo>
                    <a:pt x="130" y="26"/>
                    <a:pt x="130" y="26"/>
                    <a:pt x="130" y="26"/>
                  </a:cubicBezTo>
                  <a:cubicBezTo>
                    <a:pt x="128" y="26"/>
                    <a:pt x="127" y="26"/>
                    <a:pt x="126" y="27"/>
                  </a:cubicBezTo>
                  <a:cubicBezTo>
                    <a:pt x="125" y="27"/>
                    <a:pt x="124" y="28"/>
                    <a:pt x="123" y="29"/>
                  </a:cubicBezTo>
                  <a:cubicBezTo>
                    <a:pt x="122" y="30"/>
                    <a:pt x="121" y="31"/>
                    <a:pt x="120" y="32"/>
                  </a:cubicBezTo>
                  <a:cubicBezTo>
                    <a:pt x="120" y="33"/>
                    <a:pt x="120" y="35"/>
                    <a:pt x="120" y="36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166" y="57"/>
                    <a:pt x="166" y="57"/>
                    <a:pt x="166" y="57"/>
                  </a:cubicBezTo>
                  <a:cubicBezTo>
                    <a:pt x="166" y="58"/>
                    <a:pt x="166" y="58"/>
                    <a:pt x="166" y="58"/>
                  </a:cubicBezTo>
                  <a:cubicBezTo>
                    <a:pt x="166" y="58"/>
                    <a:pt x="166" y="58"/>
                    <a:pt x="166" y="58"/>
                  </a:cubicBezTo>
                  <a:cubicBezTo>
                    <a:pt x="166" y="65"/>
                    <a:pt x="166" y="65"/>
                    <a:pt x="166" y="65"/>
                  </a:cubicBezTo>
                  <a:cubicBezTo>
                    <a:pt x="166" y="65"/>
                    <a:pt x="166" y="65"/>
                    <a:pt x="166" y="65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69"/>
                    <a:pt x="120" y="69"/>
                    <a:pt x="120" y="69"/>
                  </a:cubicBezTo>
                  <a:cubicBezTo>
                    <a:pt x="120" y="70"/>
                    <a:pt x="120" y="71"/>
                    <a:pt x="120" y="73"/>
                  </a:cubicBezTo>
                  <a:cubicBezTo>
                    <a:pt x="121" y="74"/>
                    <a:pt x="122" y="75"/>
                    <a:pt x="123" y="76"/>
                  </a:cubicBezTo>
                  <a:cubicBezTo>
                    <a:pt x="124" y="77"/>
                    <a:pt x="125" y="77"/>
                    <a:pt x="126" y="78"/>
                  </a:cubicBezTo>
                  <a:cubicBezTo>
                    <a:pt x="127" y="78"/>
                    <a:pt x="128" y="79"/>
                    <a:pt x="130" y="79"/>
                  </a:cubicBezTo>
                  <a:cubicBezTo>
                    <a:pt x="170" y="79"/>
                    <a:pt x="170" y="79"/>
                    <a:pt x="170" y="79"/>
                  </a:cubicBezTo>
                  <a:cubicBezTo>
                    <a:pt x="172" y="79"/>
                    <a:pt x="173" y="78"/>
                    <a:pt x="174" y="78"/>
                  </a:cubicBezTo>
                  <a:cubicBezTo>
                    <a:pt x="176" y="77"/>
                    <a:pt x="177" y="77"/>
                    <a:pt x="178" y="76"/>
                  </a:cubicBezTo>
                  <a:cubicBezTo>
                    <a:pt x="178" y="75"/>
                    <a:pt x="179" y="74"/>
                    <a:pt x="180" y="73"/>
                  </a:cubicBezTo>
                  <a:moveTo>
                    <a:pt x="177" y="174"/>
                  </a:moveTo>
                  <a:cubicBezTo>
                    <a:pt x="184" y="167"/>
                    <a:pt x="188" y="158"/>
                    <a:pt x="188" y="149"/>
                  </a:cubicBezTo>
                  <a:cubicBezTo>
                    <a:pt x="188" y="139"/>
                    <a:pt x="184" y="130"/>
                    <a:pt x="177" y="124"/>
                  </a:cubicBezTo>
                  <a:cubicBezTo>
                    <a:pt x="170" y="117"/>
                    <a:pt x="161" y="113"/>
                    <a:pt x="152" y="113"/>
                  </a:cubicBezTo>
                  <a:cubicBezTo>
                    <a:pt x="142" y="113"/>
                    <a:pt x="133" y="117"/>
                    <a:pt x="127" y="124"/>
                  </a:cubicBezTo>
                  <a:cubicBezTo>
                    <a:pt x="120" y="130"/>
                    <a:pt x="116" y="139"/>
                    <a:pt x="116" y="149"/>
                  </a:cubicBezTo>
                  <a:cubicBezTo>
                    <a:pt x="116" y="158"/>
                    <a:pt x="120" y="167"/>
                    <a:pt x="127" y="174"/>
                  </a:cubicBezTo>
                  <a:cubicBezTo>
                    <a:pt x="133" y="181"/>
                    <a:pt x="142" y="184"/>
                    <a:pt x="152" y="184"/>
                  </a:cubicBezTo>
                  <a:cubicBezTo>
                    <a:pt x="161" y="184"/>
                    <a:pt x="170" y="181"/>
                    <a:pt x="177" y="174"/>
                  </a:cubicBezTo>
                  <a:moveTo>
                    <a:pt x="257" y="165"/>
                  </a:moveTo>
                  <a:cubicBezTo>
                    <a:pt x="262" y="160"/>
                    <a:pt x="265" y="152"/>
                    <a:pt x="265" y="144"/>
                  </a:cubicBezTo>
                  <a:cubicBezTo>
                    <a:pt x="265" y="136"/>
                    <a:pt x="262" y="129"/>
                    <a:pt x="257" y="123"/>
                  </a:cubicBezTo>
                  <a:cubicBezTo>
                    <a:pt x="251" y="118"/>
                    <a:pt x="243" y="115"/>
                    <a:pt x="236" y="115"/>
                  </a:cubicBezTo>
                  <a:cubicBezTo>
                    <a:pt x="228" y="115"/>
                    <a:pt x="220" y="118"/>
                    <a:pt x="215" y="123"/>
                  </a:cubicBezTo>
                  <a:cubicBezTo>
                    <a:pt x="209" y="129"/>
                    <a:pt x="206" y="136"/>
                    <a:pt x="206" y="144"/>
                  </a:cubicBezTo>
                  <a:cubicBezTo>
                    <a:pt x="206" y="152"/>
                    <a:pt x="209" y="160"/>
                    <a:pt x="215" y="165"/>
                  </a:cubicBezTo>
                  <a:cubicBezTo>
                    <a:pt x="220" y="171"/>
                    <a:pt x="228" y="174"/>
                    <a:pt x="236" y="174"/>
                  </a:cubicBezTo>
                  <a:cubicBezTo>
                    <a:pt x="243" y="174"/>
                    <a:pt x="251" y="171"/>
                    <a:pt x="257" y="165"/>
                  </a:cubicBezTo>
                  <a:moveTo>
                    <a:pt x="289" y="209"/>
                  </a:moveTo>
                  <a:cubicBezTo>
                    <a:pt x="285" y="181"/>
                    <a:pt x="260" y="175"/>
                    <a:pt x="259" y="175"/>
                  </a:cubicBezTo>
                  <a:cubicBezTo>
                    <a:pt x="252" y="180"/>
                    <a:pt x="244" y="183"/>
                    <a:pt x="236" y="183"/>
                  </a:cubicBezTo>
                  <a:cubicBezTo>
                    <a:pt x="227" y="183"/>
                    <a:pt x="219" y="180"/>
                    <a:pt x="212" y="175"/>
                  </a:cubicBezTo>
                  <a:cubicBezTo>
                    <a:pt x="212" y="175"/>
                    <a:pt x="212" y="175"/>
                    <a:pt x="212" y="175"/>
                  </a:cubicBezTo>
                  <a:cubicBezTo>
                    <a:pt x="212" y="175"/>
                    <a:pt x="206" y="176"/>
                    <a:pt x="199" y="182"/>
                  </a:cubicBezTo>
                  <a:cubicBezTo>
                    <a:pt x="210" y="188"/>
                    <a:pt x="224" y="201"/>
                    <a:pt x="228" y="225"/>
                  </a:cubicBezTo>
                  <a:cubicBezTo>
                    <a:pt x="230" y="236"/>
                    <a:pt x="230" y="244"/>
                    <a:pt x="229" y="251"/>
                  </a:cubicBezTo>
                  <a:cubicBezTo>
                    <a:pt x="275" y="251"/>
                    <a:pt x="275" y="251"/>
                    <a:pt x="275" y="251"/>
                  </a:cubicBezTo>
                  <a:cubicBezTo>
                    <a:pt x="275" y="251"/>
                    <a:pt x="295" y="244"/>
                    <a:pt x="289" y="209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107" name="Gruppieren 195">
            <a:extLst>
              <a:ext uri="{FF2B5EF4-FFF2-40B4-BE49-F238E27FC236}">
                <a16:creationId xmlns:a16="http://schemas.microsoft.com/office/drawing/2014/main" id="{2E6F3801-D9D5-413A-9CB5-BE51A1DCA891}"/>
              </a:ext>
            </a:extLst>
          </p:cNvPr>
          <p:cNvGrpSpPr>
            <a:grpSpLocks noChangeAspect="1"/>
          </p:cNvGrpSpPr>
          <p:nvPr>
            <p:custDataLst>
              <p:tags r:id="rId17"/>
            </p:custDataLst>
          </p:nvPr>
        </p:nvGrpSpPr>
        <p:grpSpPr bwMode="gray">
          <a:xfrm>
            <a:off x="9986038" y="3717088"/>
            <a:ext cx="504000" cy="504000"/>
            <a:chOff x="6717397" y="3268738"/>
            <a:chExt cx="680476" cy="680476"/>
          </a:xfrm>
        </p:grpSpPr>
        <p:sp>
          <p:nvSpPr>
            <p:cNvPr id="108" name="Abgerundetes Rechteck 145">
              <a:extLst>
                <a:ext uri="{FF2B5EF4-FFF2-40B4-BE49-F238E27FC236}">
                  <a16:creationId xmlns:a16="http://schemas.microsoft.com/office/drawing/2014/main" id="{09AECCCD-2A7D-4787-A917-FC445E55AD95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6717397" y="3268738"/>
              <a:ext cx="680476" cy="680476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lIns="90000" tIns="108000" rIns="90000" bIns="46800" rtlCol="0" anchor="t" anchorCtr="0"/>
            <a:lstStyle/>
            <a:p>
              <a:pPr>
                <a:buClr>
                  <a:srgbClr val="FF0000"/>
                </a:buClr>
                <a:buSzPct val="250000"/>
                <a:tabLst>
                  <a:tab pos="90000" algn="l"/>
                </a:tabLst>
              </a:pPr>
              <a:endParaRPr lang="de-DE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9" name="Freeform 55">
              <a:extLst>
                <a:ext uri="{FF2B5EF4-FFF2-40B4-BE49-F238E27FC236}">
                  <a16:creationId xmlns:a16="http://schemas.microsoft.com/office/drawing/2014/main" id="{AB8B6B73-EB72-41F0-A21D-A258095348CB}"/>
                </a:ext>
              </a:extLst>
            </p:cNvPr>
            <p:cNvSpPr>
              <a:spLocks noEditPoints="1"/>
            </p:cNvSpPr>
            <p:nvPr>
              <p:custDataLst>
                <p:tags r:id="rId27"/>
              </p:custDataLst>
            </p:nvPr>
          </p:nvSpPr>
          <p:spPr bwMode="gray">
            <a:xfrm>
              <a:off x="6761491" y="3313552"/>
              <a:ext cx="594395" cy="594395"/>
            </a:xfrm>
            <a:custGeom>
              <a:avLst/>
              <a:gdLst>
                <a:gd name="T0" fmla="*/ 117 w 298"/>
                <a:gd name="T1" fmla="*/ 230 h 298"/>
                <a:gd name="T2" fmla="*/ 117 w 298"/>
                <a:gd name="T3" fmla="*/ 230 h 298"/>
                <a:gd name="T4" fmla="*/ 181 w 298"/>
                <a:gd name="T5" fmla="*/ 105 h 298"/>
                <a:gd name="T6" fmla="*/ 149 w 298"/>
                <a:gd name="T7" fmla="*/ 73 h 298"/>
                <a:gd name="T8" fmla="*/ 117 w 298"/>
                <a:gd name="T9" fmla="*/ 105 h 298"/>
                <a:gd name="T10" fmla="*/ 149 w 298"/>
                <a:gd name="T11" fmla="*/ 137 h 298"/>
                <a:gd name="T12" fmla="*/ 205 w 298"/>
                <a:gd name="T13" fmla="*/ 175 h 298"/>
                <a:gd name="T14" fmla="*/ 156 w 298"/>
                <a:gd name="T15" fmla="*/ 146 h 298"/>
                <a:gd name="T16" fmla="*/ 162 w 298"/>
                <a:gd name="T17" fmla="*/ 195 h 298"/>
                <a:gd name="T18" fmla="*/ 135 w 298"/>
                <a:gd name="T19" fmla="*/ 195 h 298"/>
                <a:gd name="T20" fmla="*/ 141 w 298"/>
                <a:gd name="T21" fmla="*/ 146 h 298"/>
                <a:gd name="T22" fmla="*/ 124 w 298"/>
                <a:gd name="T23" fmla="*/ 138 h 298"/>
                <a:gd name="T24" fmla="*/ 110 w 298"/>
                <a:gd name="T25" fmla="*/ 219 h 298"/>
                <a:gd name="T26" fmla="*/ 205 w 298"/>
                <a:gd name="T27" fmla="*/ 175 h 298"/>
                <a:gd name="T28" fmla="*/ 290 w 298"/>
                <a:gd name="T29" fmla="*/ 149 h 298"/>
                <a:gd name="T30" fmla="*/ 153 w 298"/>
                <a:gd name="T31" fmla="*/ 271 h 298"/>
                <a:gd name="T32" fmla="*/ 164 w 298"/>
                <a:gd name="T33" fmla="*/ 271 h 298"/>
                <a:gd name="T34" fmla="*/ 147 w 298"/>
                <a:gd name="T35" fmla="*/ 243 h 298"/>
                <a:gd name="T36" fmla="*/ 138 w 298"/>
                <a:gd name="T37" fmla="*/ 275 h 298"/>
                <a:gd name="T38" fmla="*/ 145 w 298"/>
                <a:gd name="T39" fmla="*/ 290 h 298"/>
                <a:gd name="T40" fmla="*/ 145 w 298"/>
                <a:gd name="T41" fmla="*/ 290 h 298"/>
                <a:gd name="T42" fmla="*/ 8 w 298"/>
                <a:gd name="T43" fmla="*/ 151 h 298"/>
                <a:gd name="T44" fmla="*/ 8 w 298"/>
                <a:gd name="T45" fmla="*/ 151 h 298"/>
                <a:gd name="T46" fmla="*/ 23 w 298"/>
                <a:gd name="T47" fmla="*/ 158 h 298"/>
                <a:gd name="T48" fmla="*/ 56 w 298"/>
                <a:gd name="T49" fmla="*/ 149 h 298"/>
                <a:gd name="T50" fmla="*/ 27 w 298"/>
                <a:gd name="T51" fmla="*/ 132 h 298"/>
                <a:gd name="T52" fmla="*/ 27 w 298"/>
                <a:gd name="T53" fmla="*/ 143 h 298"/>
                <a:gd name="T54" fmla="*/ 145 w 298"/>
                <a:gd name="T55" fmla="*/ 8 h 298"/>
                <a:gd name="T56" fmla="*/ 138 w 298"/>
                <a:gd name="T57" fmla="*/ 22 h 298"/>
                <a:gd name="T58" fmla="*/ 147 w 298"/>
                <a:gd name="T59" fmla="*/ 54 h 298"/>
                <a:gd name="T60" fmla="*/ 164 w 298"/>
                <a:gd name="T61" fmla="*/ 26 h 298"/>
                <a:gd name="T62" fmla="*/ 153 w 298"/>
                <a:gd name="T63" fmla="*/ 26 h 298"/>
                <a:gd name="T64" fmla="*/ 290 w 298"/>
                <a:gd name="T65" fmla="*/ 143 h 298"/>
                <a:gd name="T66" fmla="*/ 274 w 298"/>
                <a:gd name="T67" fmla="*/ 137 h 298"/>
                <a:gd name="T68" fmla="*/ 242 w 298"/>
                <a:gd name="T69" fmla="*/ 146 h 298"/>
                <a:gd name="T70" fmla="*/ 272 w 298"/>
                <a:gd name="T71" fmla="*/ 162 h 298"/>
                <a:gd name="T72" fmla="*/ 271 w 298"/>
                <a:gd name="T73" fmla="*/ 151 h 298"/>
                <a:gd name="T74" fmla="*/ 290 w 298"/>
                <a:gd name="T75" fmla="*/ 148 h 298"/>
                <a:gd name="T76" fmla="*/ 149 w 298"/>
                <a:gd name="T77" fmla="*/ 0 h 298"/>
                <a:gd name="T78" fmla="*/ 149 w 298"/>
                <a:gd name="T79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8" h="298">
                  <a:moveTo>
                    <a:pt x="117" y="230"/>
                  </a:moveTo>
                  <a:cubicBezTo>
                    <a:pt x="117" y="230"/>
                    <a:pt x="117" y="230"/>
                    <a:pt x="117" y="230"/>
                  </a:cubicBezTo>
                  <a:cubicBezTo>
                    <a:pt x="119" y="230"/>
                    <a:pt x="119" y="230"/>
                    <a:pt x="119" y="230"/>
                  </a:cubicBezTo>
                  <a:lnTo>
                    <a:pt x="117" y="230"/>
                  </a:lnTo>
                  <a:close/>
                  <a:moveTo>
                    <a:pt x="171" y="128"/>
                  </a:moveTo>
                  <a:cubicBezTo>
                    <a:pt x="177" y="122"/>
                    <a:pt x="181" y="114"/>
                    <a:pt x="181" y="105"/>
                  </a:cubicBezTo>
                  <a:cubicBezTo>
                    <a:pt x="181" y="97"/>
                    <a:pt x="177" y="88"/>
                    <a:pt x="171" y="82"/>
                  </a:cubicBezTo>
                  <a:cubicBezTo>
                    <a:pt x="165" y="76"/>
                    <a:pt x="157" y="73"/>
                    <a:pt x="149" y="73"/>
                  </a:cubicBezTo>
                  <a:cubicBezTo>
                    <a:pt x="140" y="73"/>
                    <a:pt x="132" y="76"/>
                    <a:pt x="126" y="82"/>
                  </a:cubicBezTo>
                  <a:cubicBezTo>
                    <a:pt x="120" y="88"/>
                    <a:pt x="117" y="97"/>
                    <a:pt x="117" y="105"/>
                  </a:cubicBezTo>
                  <a:cubicBezTo>
                    <a:pt x="117" y="114"/>
                    <a:pt x="120" y="122"/>
                    <a:pt x="126" y="128"/>
                  </a:cubicBezTo>
                  <a:cubicBezTo>
                    <a:pt x="132" y="134"/>
                    <a:pt x="140" y="137"/>
                    <a:pt x="149" y="137"/>
                  </a:cubicBezTo>
                  <a:cubicBezTo>
                    <a:pt x="157" y="137"/>
                    <a:pt x="165" y="134"/>
                    <a:pt x="171" y="128"/>
                  </a:cubicBezTo>
                  <a:moveTo>
                    <a:pt x="205" y="175"/>
                  </a:moveTo>
                  <a:cubicBezTo>
                    <a:pt x="200" y="145"/>
                    <a:pt x="174" y="138"/>
                    <a:pt x="173" y="138"/>
                  </a:cubicBezTo>
                  <a:cubicBezTo>
                    <a:pt x="168" y="142"/>
                    <a:pt x="162" y="145"/>
                    <a:pt x="156" y="146"/>
                  </a:cubicBezTo>
                  <a:cubicBezTo>
                    <a:pt x="158" y="150"/>
                    <a:pt x="154" y="156"/>
                    <a:pt x="154" y="156"/>
                  </a:cubicBezTo>
                  <a:cubicBezTo>
                    <a:pt x="162" y="195"/>
                    <a:pt x="162" y="195"/>
                    <a:pt x="162" y="195"/>
                  </a:cubicBezTo>
                  <a:cubicBezTo>
                    <a:pt x="162" y="195"/>
                    <a:pt x="155" y="211"/>
                    <a:pt x="149" y="211"/>
                  </a:cubicBezTo>
                  <a:cubicBezTo>
                    <a:pt x="142" y="211"/>
                    <a:pt x="135" y="195"/>
                    <a:pt x="135" y="195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3" y="156"/>
                    <a:pt x="139" y="150"/>
                    <a:pt x="141" y="146"/>
                  </a:cubicBezTo>
                  <a:cubicBezTo>
                    <a:pt x="135" y="145"/>
                    <a:pt x="129" y="142"/>
                    <a:pt x="124" y="138"/>
                  </a:cubicBezTo>
                  <a:cubicBezTo>
                    <a:pt x="124" y="138"/>
                    <a:pt x="124" y="138"/>
                    <a:pt x="124" y="138"/>
                  </a:cubicBezTo>
                  <a:cubicBezTo>
                    <a:pt x="124" y="138"/>
                    <a:pt x="99" y="144"/>
                    <a:pt x="93" y="174"/>
                  </a:cubicBezTo>
                  <a:cubicBezTo>
                    <a:pt x="86" y="213"/>
                    <a:pt x="110" y="219"/>
                    <a:pt x="110" y="219"/>
                  </a:cubicBezTo>
                  <a:cubicBezTo>
                    <a:pt x="191" y="219"/>
                    <a:pt x="191" y="219"/>
                    <a:pt x="191" y="219"/>
                  </a:cubicBezTo>
                  <a:cubicBezTo>
                    <a:pt x="191" y="219"/>
                    <a:pt x="211" y="212"/>
                    <a:pt x="205" y="175"/>
                  </a:cubicBezTo>
                  <a:moveTo>
                    <a:pt x="290" y="148"/>
                  </a:moveTo>
                  <a:cubicBezTo>
                    <a:pt x="290" y="149"/>
                    <a:pt x="290" y="149"/>
                    <a:pt x="290" y="149"/>
                  </a:cubicBezTo>
                  <a:cubicBezTo>
                    <a:pt x="290" y="226"/>
                    <a:pt x="229" y="288"/>
                    <a:pt x="153" y="290"/>
                  </a:cubicBezTo>
                  <a:cubicBezTo>
                    <a:pt x="153" y="271"/>
                    <a:pt x="153" y="271"/>
                    <a:pt x="153" y="271"/>
                  </a:cubicBezTo>
                  <a:cubicBezTo>
                    <a:pt x="155" y="272"/>
                    <a:pt x="158" y="273"/>
                    <a:pt x="160" y="275"/>
                  </a:cubicBezTo>
                  <a:cubicBezTo>
                    <a:pt x="162" y="276"/>
                    <a:pt x="165" y="273"/>
                    <a:pt x="164" y="271"/>
                  </a:cubicBezTo>
                  <a:cubicBezTo>
                    <a:pt x="150" y="242"/>
                    <a:pt x="150" y="242"/>
                    <a:pt x="150" y="242"/>
                  </a:cubicBezTo>
                  <a:cubicBezTo>
                    <a:pt x="149" y="242"/>
                    <a:pt x="148" y="242"/>
                    <a:pt x="147" y="243"/>
                  </a:cubicBezTo>
                  <a:cubicBezTo>
                    <a:pt x="134" y="272"/>
                    <a:pt x="134" y="272"/>
                    <a:pt x="134" y="272"/>
                  </a:cubicBezTo>
                  <a:cubicBezTo>
                    <a:pt x="133" y="274"/>
                    <a:pt x="136" y="276"/>
                    <a:pt x="138" y="275"/>
                  </a:cubicBezTo>
                  <a:cubicBezTo>
                    <a:pt x="140" y="273"/>
                    <a:pt x="143" y="271"/>
                    <a:pt x="146" y="271"/>
                  </a:cubicBezTo>
                  <a:cubicBezTo>
                    <a:pt x="145" y="290"/>
                    <a:pt x="145" y="290"/>
                    <a:pt x="145" y="290"/>
                  </a:cubicBezTo>
                  <a:cubicBezTo>
                    <a:pt x="146" y="290"/>
                    <a:pt x="147" y="291"/>
                    <a:pt x="147" y="291"/>
                  </a:cubicBezTo>
                  <a:cubicBezTo>
                    <a:pt x="145" y="290"/>
                    <a:pt x="145" y="290"/>
                    <a:pt x="145" y="290"/>
                  </a:cubicBezTo>
                  <a:cubicBezTo>
                    <a:pt x="145" y="290"/>
                    <a:pt x="145" y="290"/>
                    <a:pt x="145" y="290"/>
                  </a:cubicBezTo>
                  <a:cubicBezTo>
                    <a:pt x="69" y="288"/>
                    <a:pt x="9" y="227"/>
                    <a:pt x="8" y="151"/>
                  </a:cubicBezTo>
                  <a:cubicBezTo>
                    <a:pt x="8" y="150"/>
                    <a:pt x="8" y="150"/>
                    <a:pt x="8" y="150"/>
                  </a:cubicBezTo>
                  <a:cubicBezTo>
                    <a:pt x="8" y="151"/>
                    <a:pt x="8" y="151"/>
                    <a:pt x="8" y="151"/>
                  </a:cubicBezTo>
                  <a:cubicBezTo>
                    <a:pt x="27" y="151"/>
                    <a:pt x="27" y="151"/>
                    <a:pt x="27" y="151"/>
                  </a:cubicBezTo>
                  <a:cubicBezTo>
                    <a:pt x="27" y="153"/>
                    <a:pt x="25" y="156"/>
                    <a:pt x="23" y="158"/>
                  </a:cubicBezTo>
                  <a:cubicBezTo>
                    <a:pt x="22" y="160"/>
                    <a:pt x="24" y="163"/>
                    <a:pt x="26" y="162"/>
                  </a:cubicBezTo>
                  <a:cubicBezTo>
                    <a:pt x="56" y="149"/>
                    <a:pt x="56" y="149"/>
                    <a:pt x="56" y="149"/>
                  </a:cubicBezTo>
                  <a:cubicBezTo>
                    <a:pt x="57" y="148"/>
                    <a:pt x="57" y="147"/>
                    <a:pt x="56" y="146"/>
                  </a:cubicBezTo>
                  <a:cubicBezTo>
                    <a:pt x="27" y="132"/>
                    <a:pt x="27" y="132"/>
                    <a:pt x="27" y="132"/>
                  </a:cubicBezTo>
                  <a:cubicBezTo>
                    <a:pt x="25" y="132"/>
                    <a:pt x="22" y="134"/>
                    <a:pt x="24" y="137"/>
                  </a:cubicBezTo>
                  <a:cubicBezTo>
                    <a:pt x="25" y="138"/>
                    <a:pt x="27" y="141"/>
                    <a:pt x="27" y="143"/>
                  </a:cubicBezTo>
                  <a:cubicBezTo>
                    <a:pt x="8" y="143"/>
                    <a:pt x="8" y="143"/>
                    <a:pt x="8" y="143"/>
                  </a:cubicBezTo>
                  <a:cubicBezTo>
                    <a:pt x="11" y="69"/>
                    <a:pt x="71" y="10"/>
                    <a:pt x="145" y="8"/>
                  </a:cubicBezTo>
                  <a:cubicBezTo>
                    <a:pt x="146" y="26"/>
                    <a:pt x="146" y="26"/>
                    <a:pt x="146" y="26"/>
                  </a:cubicBezTo>
                  <a:cubicBezTo>
                    <a:pt x="143" y="26"/>
                    <a:pt x="140" y="24"/>
                    <a:pt x="138" y="22"/>
                  </a:cubicBezTo>
                  <a:cubicBezTo>
                    <a:pt x="136" y="21"/>
                    <a:pt x="133" y="23"/>
                    <a:pt x="134" y="25"/>
                  </a:cubicBezTo>
                  <a:cubicBezTo>
                    <a:pt x="147" y="54"/>
                    <a:pt x="147" y="54"/>
                    <a:pt x="147" y="54"/>
                  </a:cubicBezTo>
                  <a:cubicBezTo>
                    <a:pt x="148" y="55"/>
                    <a:pt x="149" y="55"/>
                    <a:pt x="150" y="54"/>
                  </a:cubicBezTo>
                  <a:cubicBezTo>
                    <a:pt x="164" y="26"/>
                    <a:pt x="164" y="26"/>
                    <a:pt x="164" y="26"/>
                  </a:cubicBezTo>
                  <a:cubicBezTo>
                    <a:pt x="165" y="24"/>
                    <a:pt x="162" y="21"/>
                    <a:pt x="160" y="22"/>
                  </a:cubicBezTo>
                  <a:cubicBezTo>
                    <a:pt x="158" y="24"/>
                    <a:pt x="155" y="25"/>
                    <a:pt x="153" y="26"/>
                  </a:cubicBezTo>
                  <a:cubicBezTo>
                    <a:pt x="153" y="8"/>
                    <a:pt x="153" y="8"/>
                    <a:pt x="153" y="8"/>
                  </a:cubicBezTo>
                  <a:cubicBezTo>
                    <a:pt x="227" y="10"/>
                    <a:pt x="287" y="69"/>
                    <a:pt x="290" y="143"/>
                  </a:cubicBezTo>
                  <a:cubicBezTo>
                    <a:pt x="271" y="143"/>
                    <a:pt x="271" y="143"/>
                    <a:pt x="271" y="143"/>
                  </a:cubicBezTo>
                  <a:cubicBezTo>
                    <a:pt x="272" y="141"/>
                    <a:pt x="273" y="138"/>
                    <a:pt x="274" y="137"/>
                  </a:cubicBezTo>
                  <a:cubicBezTo>
                    <a:pt x="276" y="134"/>
                    <a:pt x="273" y="132"/>
                    <a:pt x="271" y="132"/>
                  </a:cubicBezTo>
                  <a:cubicBezTo>
                    <a:pt x="242" y="146"/>
                    <a:pt x="242" y="146"/>
                    <a:pt x="242" y="146"/>
                  </a:cubicBezTo>
                  <a:cubicBezTo>
                    <a:pt x="242" y="147"/>
                    <a:pt x="242" y="148"/>
                    <a:pt x="242" y="149"/>
                  </a:cubicBezTo>
                  <a:cubicBezTo>
                    <a:pt x="272" y="162"/>
                    <a:pt x="272" y="162"/>
                    <a:pt x="272" y="162"/>
                  </a:cubicBezTo>
                  <a:cubicBezTo>
                    <a:pt x="274" y="163"/>
                    <a:pt x="276" y="160"/>
                    <a:pt x="275" y="158"/>
                  </a:cubicBezTo>
                  <a:cubicBezTo>
                    <a:pt x="273" y="156"/>
                    <a:pt x="271" y="153"/>
                    <a:pt x="271" y="151"/>
                  </a:cubicBezTo>
                  <a:cubicBezTo>
                    <a:pt x="290" y="151"/>
                    <a:pt x="290" y="151"/>
                    <a:pt x="290" y="151"/>
                  </a:cubicBezTo>
                  <a:lnTo>
                    <a:pt x="290" y="148"/>
                  </a:lnTo>
                  <a:close/>
                  <a:moveTo>
                    <a:pt x="298" y="149"/>
                  </a:moveTo>
                  <a:cubicBezTo>
                    <a:pt x="298" y="67"/>
                    <a:pt x="231" y="0"/>
                    <a:pt x="149" y="0"/>
                  </a:cubicBezTo>
                  <a:cubicBezTo>
                    <a:pt x="67" y="0"/>
                    <a:pt x="0" y="67"/>
                    <a:pt x="0" y="149"/>
                  </a:cubicBezTo>
                  <a:cubicBezTo>
                    <a:pt x="0" y="231"/>
                    <a:pt x="67" y="298"/>
                    <a:pt x="149" y="298"/>
                  </a:cubicBezTo>
                  <a:cubicBezTo>
                    <a:pt x="231" y="298"/>
                    <a:pt x="298" y="231"/>
                    <a:pt x="298" y="149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110" name="Gruppieren 198">
            <a:extLst>
              <a:ext uri="{FF2B5EF4-FFF2-40B4-BE49-F238E27FC236}">
                <a16:creationId xmlns:a16="http://schemas.microsoft.com/office/drawing/2014/main" id="{08DCC698-5217-49B9-8B5A-81F5F5B381DF}"/>
              </a:ext>
            </a:extLst>
          </p:cNvPr>
          <p:cNvGrpSpPr>
            <a:grpSpLocks noChangeAspect="1"/>
          </p:cNvGrpSpPr>
          <p:nvPr>
            <p:custDataLst>
              <p:tags r:id="rId18"/>
            </p:custDataLst>
          </p:nvPr>
        </p:nvGrpSpPr>
        <p:grpSpPr bwMode="gray">
          <a:xfrm>
            <a:off x="9337947" y="3069016"/>
            <a:ext cx="504000" cy="504000"/>
            <a:chOff x="956361" y="3268738"/>
            <a:chExt cx="680476" cy="680476"/>
          </a:xfrm>
        </p:grpSpPr>
        <p:sp>
          <p:nvSpPr>
            <p:cNvPr id="111" name="Abgerundetes Rechteck 145">
              <a:extLst>
                <a:ext uri="{FF2B5EF4-FFF2-40B4-BE49-F238E27FC236}">
                  <a16:creationId xmlns:a16="http://schemas.microsoft.com/office/drawing/2014/main" id="{305BBF72-54F3-49A2-890E-A636D4E7E1B4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 bwMode="gray">
            <a:xfrm>
              <a:off x="956361" y="3268738"/>
              <a:ext cx="680476" cy="680476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lIns="90000" tIns="108000" rIns="90000" bIns="46800" rtlCol="0" anchor="t" anchorCtr="0"/>
            <a:lstStyle/>
            <a:p>
              <a:pPr>
                <a:buClr>
                  <a:srgbClr val="FF0000"/>
                </a:buClr>
                <a:buSzPct val="250000"/>
                <a:tabLst>
                  <a:tab pos="90000" algn="l"/>
                </a:tabLst>
              </a:pPr>
              <a:endParaRPr lang="de-DE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2" name="Freihandform 126">
              <a:extLst>
                <a:ext uri="{FF2B5EF4-FFF2-40B4-BE49-F238E27FC236}">
                  <a16:creationId xmlns:a16="http://schemas.microsoft.com/office/drawing/2014/main" id="{465E7481-DF28-4E35-A859-4691CDD7F12C}"/>
                </a:ext>
              </a:extLst>
            </p:cNvPr>
            <p:cNvSpPr/>
            <p:nvPr/>
          </p:nvSpPr>
          <p:spPr bwMode="gray">
            <a:xfrm>
              <a:off x="1027027" y="3441671"/>
              <a:ext cx="555804" cy="314960"/>
            </a:xfrm>
            <a:custGeom>
              <a:avLst/>
              <a:gdLst/>
              <a:ahLst/>
              <a:cxnLst/>
              <a:rect l="l" t="t" r="r" b="b"/>
              <a:pathLst>
                <a:path w="3316892" h="1879600">
                  <a:moveTo>
                    <a:pt x="1597111" y="1644650"/>
                  </a:moveTo>
                  <a:lnTo>
                    <a:pt x="1597111" y="1803400"/>
                  </a:lnTo>
                  <a:lnTo>
                    <a:pt x="1705123" y="1803400"/>
                  </a:lnTo>
                  <a:lnTo>
                    <a:pt x="1705123" y="1644650"/>
                  </a:lnTo>
                  <a:close/>
                  <a:moveTo>
                    <a:pt x="772194" y="1644650"/>
                  </a:moveTo>
                  <a:lnTo>
                    <a:pt x="772194" y="1803400"/>
                  </a:lnTo>
                  <a:lnTo>
                    <a:pt x="880206" y="1803400"/>
                  </a:lnTo>
                  <a:lnTo>
                    <a:pt x="880206" y="1644650"/>
                  </a:lnTo>
                  <a:close/>
                  <a:moveTo>
                    <a:pt x="1204985" y="971544"/>
                  </a:moveTo>
                  <a:cubicBezTo>
                    <a:pt x="1189731" y="971544"/>
                    <a:pt x="1177364" y="983562"/>
                    <a:pt x="1177364" y="998386"/>
                  </a:cubicBezTo>
                  <a:lnTo>
                    <a:pt x="1177364" y="1037793"/>
                  </a:lnTo>
                  <a:cubicBezTo>
                    <a:pt x="1177364" y="1046028"/>
                    <a:pt x="1181180" y="1053396"/>
                    <a:pt x="1187415" y="1058058"/>
                  </a:cubicBezTo>
                  <a:lnTo>
                    <a:pt x="1139600" y="1194047"/>
                  </a:lnTo>
                  <a:lnTo>
                    <a:pt x="1244389" y="1473600"/>
                  </a:lnTo>
                  <a:lnTo>
                    <a:pt x="1350342" y="1194047"/>
                  </a:lnTo>
                  <a:lnTo>
                    <a:pt x="1302321" y="1057469"/>
                  </a:lnTo>
                  <a:cubicBezTo>
                    <a:pt x="1308001" y="1052716"/>
                    <a:pt x="1311473" y="1045649"/>
                    <a:pt x="1311473" y="1037793"/>
                  </a:cubicBezTo>
                  <a:lnTo>
                    <a:pt x="1311473" y="998386"/>
                  </a:lnTo>
                  <a:cubicBezTo>
                    <a:pt x="1311473" y="983562"/>
                    <a:pt x="1299107" y="971544"/>
                    <a:pt x="1283853" y="971544"/>
                  </a:cubicBezTo>
                  <a:close/>
                  <a:moveTo>
                    <a:pt x="1485135" y="941936"/>
                  </a:moveTo>
                  <a:lnTo>
                    <a:pt x="1244803" y="1549134"/>
                  </a:lnTo>
                  <a:lnTo>
                    <a:pt x="1004537" y="942102"/>
                  </a:lnTo>
                  <a:cubicBezTo>
                    <a:pt x="747482" y="1039544"/>
                    <a:pt x="563191" y="1290163"/>
                    <a:pt x="556275" y="1585956"/>
                  </a:cubicBezTo>
                  <a:lnTo>
                    <a:pt x="1933847" y="1585956"/>
                  </a:lnTo>
                  <a:cubicBezTo>
                    <a:pt x="1926928" y="1289991"/>
                    <a:pt x="1742425" y="1039253"/>
                    <a:pt x="1485135" y="941936"/>
                  </a:cubicBezTo>
                  <a:close/>
                  <a:moveTo>
                    <a:pt x="2562224" y="463550"/>
                  </a:moveTo>
                  <a:lnTo>
                    <a:pt x="3168649" y="463550"/>
                  </a:lnTo>
                  <a:cubicBezTo>
                    <a:pt x="3318932" y="474133"/>
                    <a:pt x="3339041" y="599017"/>
                    <a:pt x="3298824" y="695325"/>
                  </a:cubicBezTo>
                  <a:lnTo>
                    <a:pt x="2555874" y="1628775"/>
                  </a:lnTo>
                  <a:cubicBezTo>
                    <a:pt x="2557991" y="1240367"/>
                    <a:pt x="2560107" y="851958"/>
                    <a:pt x="2562224" y="463550"/>
                  </a:cubicBezTo>
                  <a:close/>
                  <a:moveTo>
                    <a:pt x="1083636" y="313354"/>
                  </a:moveTo>
                  <a:cubicBezTo>
                    <a:pt x="1118250" y="366618"/>
                    <a:pt x="1203889" y="419121"/>
                    <a:pt x="1311117" y="447853"/>
                  </a:cubicBezTo>
                  <a:cubicBezTo>
                    <a:pt x="1399432" y="471517"/>
                    <a:pt x="1483126" y="473893"/>
                    <a:pt x="1541371" y="457561"/>
                  </a:cubicBezTo>
                  <a:cubicBezTo>
                    <a:pt x="1547753" y="479692"/>
                    <a:pt x="1550799" y="502949"/>
                    <a:pt x="1550972" y="526843"/>
                  </a:cubicBezTo>
                  <a:cubicBezTo>
                    <a:pt x="1552166" y="691682"/>
                    <a:pt x="1416153" y="824345"/>
                    <a:pt x="1247179" y="823151"/>
                  </a:cubicBezTo>
                  <a:cubicBezTo>
                    <a:pt x="1085926" y="822012"/>
                    <a:pt x="952928" y="699383"/>
                    <a:pt x="941527" y="544823"/>
                  </a:cubicBezTo>
                  <a:cubicBezTo>
                    <a:pt x="975234" y="524547"/>
                    <a:pt x="1013457" y="481213"/>
                    <a:pt x="1043649" y="425290"/>
                  </a:cubicBezTo>
                  <a:cubicBezTo>
                    <a:pt x="1064916" y="385899"/>
                    <a:pt x="1078697" y="346746"/>
                    <a:pt x="1083636" y="313354"/>
                  </a:cubicBezTo>
                  <a:close/>
                  <a:moveTo>
                    <a:pt x="1242282" y="151521"/>
                  </a:moveTo>
                  <a:cubicBezTo>
                    <a:pt x="1031041" y="150028"/>
                    <a:pt x="861006" y="315874"/>
                    <a:pt x="862498" y="521947"/>
                  </a:cubicBezTo>
                  <a:cubicBezTo>
                    <a:pt x="863990" y="728020"/>
                    <a:pt x="1036444" y="896285"/>
                    <a:pt x="1247685" y="897776"/>
                  </a:cubicBezTo>
                  <a:cubicBezTo>
                    <a:pt x="1458926" y="899268"/>
                    <a:pt x="1628961" y="733422"/>
                    <a:pt x="1627469" y="527350"/>
                  </a:cubicBezTo>
                  <a:cubicBezTo>
                    <a:pt x="1625978" y="321277"/>
                    <a:pt x="1453523" y="153012"/>
                    <a:pt x="1242282" y="151521"/>
                  </a:cubicBezTo>
                  <a:close/>
                  <a:moveTo>
                    <a:pt x="236144" y="54"/>
                  </a:moveTo>
                  <a:lnTo>
                    <a:pt x="2206108" y="54"/>
                  </a:lnTo>
                  <a:cubicBezTo>
                    <a:pt x="2401748" y="-2790"/>
                    <a:pt x="2440362" y="122324"/>
                    <a:pt x="2437787" y="213316"/>
                  </a:cubicBezTo>
                  <a:lnTo>
                    <a:pt x="2437787" y="1683399"/>
                  </a:lnTo>
                  <a:cubicBezTo>
                    <a:pt x="2431781" y="1791452"/>
                    <a:pt x="2353696" y="1879600"/>
                    <a:pt x="2257592" y="1879600"/>
                  </a:cubicBezTo>
                  <a:lnTo>
                    <a:pt x="208512" y="1879600"/>
                  </a:lnTo>
                  <a:cubicBezTo>
                    <a:pt x="79801" y="1879600"/>
                    <a:pt x="0" y="1780078"/>
                    <a:pt x="0" y="1657808"/>
                  </a:cubicBezTo>
                  <a:cubicBezTo>
                    <a:pt x="858" y="1173467"/>
                    <a:pt x="1716" y="689126"/>
                    <a:pt x="2574" y="204785"/>
                  </a:cubicBezTo>
                  <a:cubicBezTo>
                    <a:pt x="6865" y="108106"/>
                    <a:pt x="105717" y="-2790"/>
                    <a:pt x="236144" y="54"/>
                  </a:cubicBezTo>
                  <a:close/>
                </a:path>
              </a:pathLst>
            </a:custGeom>
            <a:solidFill>
              <a:schemeClr val="tx1"/>
            </a:solidFill>
            <a:ln w="3175" cmpd="sng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113" name="Gruppieren 201">
            <a:extLst>
              <a:ext uri="{FF2B5EF4-FFF2-40B4-BE49-F238E27FC236}">
                <a16:creationId xmlns:a16="http://schemas.microsoft.com/office/drawing/2014/main" id="{3D7E7784-0D06-4F0D-8127-00C960ACA549}"/>
              </a:ext>
            </a:extLst>
          </p:cNvPr>
          <p:cNvGrpSpPr>
            <a:grpSpLocks noChangeAspect="1"/>
          </p:cNvGrpSpPr>
          <p:nvPr>
            <p:custDataLst>
              <p:tags r:id="rId19"/>
            </p:custDataLst>
          </p:nvPr>
        </p:nvGrpSpPr>
        <p:grpSpPr bwMode="gray">
          <a:xfrm>
            <a:off x="9986038" y="3069016"/>
            <a:ext cx="504000" cy="504000"/>
            <a:chOff x="4797302" y="4636890"/>
            <a:chExt cx="680476" cy="680476"/>
          </a:xfrm>
        </p:grpSpPr>
        <p:sp>
          <p:nvSpPr>
            <p:cNvPr id="114" name="Abgerundetes Rechteck 145">
              <a:extLst>
                <a:ext uri="{FF2B5EF4-FFF2-40B4-BE49-F238E27FC236}">
                  <a16:creationId xmlns:a16="http://schemas.microsoft.com/office/drawing/2014/main" id="{3E23834D-C336-4B9A-8C61-363E04386187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4797302" y="4636890"/>
              <a:ext cx="680476" cy="680476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lIns="90000" tIns="108000" rIns="90000" bIns="46800" rtlCol="0" anchor="t" anchorCtr="0"/>
            <a:lstStyle/>
            <a:p>
              <a:pPr>
                <a:buClr>
                  <a:srgbClr val="FF0000"/>
                </a:buClr>
                <a:buSzPct val="250000"/>
                <a:tabLst>
                  <a:tab pos="90000" algn="l"/>
                </a:tabLst>
              </a:pPr>
              <a:endParaRPr lang="de-DE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5" name="Abgerundetes Rechteck 26">
              <a:extLst>
                <a:ext uri="{FF2B5EF4-FFF2-40B4-BE49-F238E27FC236}">
                  <a16:creationId xmlns:a16="http://schemas.microsoft.com/office/drawing/2014/main" id="{F3B590E5-D3FC-4720-9F60-0F205CDECB8D}"/>
                </a:ext>
              </a:extLst>
            </p:cNvPr>
            <p:cNvSpPr/>
            <p:nvPr/>
          </p:nvSpPr>
          <p:spPr bwMode="gray">
            <a:xfrm>
              <a:off x="4888559" y="4729970"/>
              <a:ext cx="486000" cy="494316"/>
            </a:xfrm>
            <a:custGeom>
              <a:avLst/>
              <a:gdLst/>
              <a:ahLst/>
              <a:cxnLst/>
              <a:rect l="l" t="t" r="r" b="b"/>
              <a:pathLst>
                <a:path w="486000" h="494316">
                  <a:moveTo>
                    <a:pt x="16224" y="461868"/>
                  </a:moveTo>
                  <a:lnTo>
                    <a:pt x="469776" y="461868"/>
                  </a:lnTo>
                  <a:cubicBezTo>
                    <a:pt x="478736" y="461868"/>
                    <a:pt x="486000" y="469132"/>
                    <a:pt x="486000" y="478092"/>
                  </a:cubicBezTo>
                  <a:cubicBezTo>
                    <a:pt x="486000" y="487052"/>
                    <a:pt x="478736" y="494316"/>
                    <a:pt x="469776" y="494316"/>
                  </a:cubicBezTo>
                  <a:lnTo>
                    <a:pt x="16224" y="494316"/>
                  </a:lnTo>
                  <a:cubicBezTo>
                    <a:pt x="7264" y="494316"/>
                    <a:pt x="0" y="487052"/>
                    <a:pt x="0" y="478092"/>
                  </a:cubicBezTo>
                  <a:cubicBezTo>
                    <a:pt x="0" y="469132"/>
                    <a:pt x="7264" y="461868"/>
                    <a:pt x="16224" y="461868"/>
                  </a:cubicBezTo>
                  <a:close/>
                  <a:moveTo>
                    <a:pt x="43224" y="407862"/>
                  </a:moveTo>
                  <a:lnTo>
                    <a:pt x="442776" y="407862"/>
                  </a:lnTo>
                  <a:cubicBezTo>
                    <a:pt x="451736" y="407862"/>
                    <a:pt x="459000" y="415126"/>
                    <a:pt x="459000" y="424086"/>
                  </a:cubicBezTo>
                  <a:cubicBezTo>
                    <a:pt x="459000" y="433046"/>
                    <a:pt x="451736" y="440310"/>
                    <a:pt x="442776" y="440310"/>
                  </a:cubicBezTo>
                  <a:lnTo>
                    <a:pt x="43224" y="440310"/>
                  </a:lnTo>
                  <a:cubicBezTo>
                    <a:pt x="34264" y="440310"/>
                    <a:pt x="27000" y="433046"/>
                    <a:pt x="27000" y="424086"/>
                  </a:cubicBezTo>
                  <a:cubicBezTo>
                    <a:pt x="27000" y="415126"/>
                    <a:pt x="34264" y="407862"/>
                    <a:pt x="43224" y="407862"/>
                  </a:cubicBezTo>
                  <a:close/>
                  <a:moveTo>
                    <a:pt x="213806" y="255520"/>
                  </a:moveTo>
                  <a:cubicBezTo>
                    <a:pt x="221378" y="262285"/>
                    <a:pt x="228042" y="264203"/>
                    <a:pt x="236220" y="266121"/>
                  </a:cubicBezTo>
                  <a:cubicBezTo>
                    <a:pt x="234907" y="271876"/>
                    <a:pt x="235412" y="276117"/>
                    <a:pt x="240157" y="280055"/>
                  </a:cubicBezTo>
                  <a:lnTo>
                    <a:pt x="228344" y="333061"/>
                  </a:lnTo>
                  <a:cubicBezTo>
                    <a:pt x="232484" y="342552"/>
                    <a:pt x="239955" y="353860"/>
                    <a:pt x="247124" y="356081"/>
                  </a:cubicBezTo>
                  <a:cubicBezTo>
                    <a:pt x="254090" y="354264"/>
                    <a:pt x="261966" y="343057"/>
                    <a:pt x="266206" y="333364"/>
                  </a:cubicBezTo>
                  <a:lnTo>
                    <a:pt x="255605" y="279752"/>
                  </a:lnTo>
                  <a:lnTo>
                    <a:pt x="257725" y="266424"/>
                  </a:lnTo>
                  <a:cubicBezTo>
                    <a:pt x="267317" y="264203"/>
                    <a:pt x="275394" y="260770"/>
                    <a:pt x="281351" y="255520"/>
                  </a:cubicBezTo>
                  <a:cubicBezTo>
                    <a:pt x="297101" y="260871"/>
                    <a:pt x="318607" y="271977"/>
                    <a:pt x="324059" y="305195"/>
                  </a:cubicBezTo>
                  <a:cubicBezTo>
                    <a:pt x="328602" y="330638"/>
                    <a:pt x="325271" y="353658"/>
                    <a:pt x="304977" y="366076"/>
                  </a:cubicBezTo>
                  <a:lnTo>
                    <a:pt x="194723" y="366682"/>
                  </a:lnTo>
                  <a:cubicBezTo>
                    <a:pt x="167766" y="355374"/>
                    <a:pt x="169280" y="330436"/>
                    <a:pt x="171098" y="309132"/>
                  </a:cubicBezTo>
                  <a:cubicBezTo>
                    <a:pt x="175944" y="277329"/>
                    <a:pt x="194420" y="261881"/>
                    <a:pt x="213806" y="255520"/>
                  </a:cubicBezTo>
                  <a:close/>
                  <a:moveTo>
                    <a:pt x="322242" y="242193"/>
                  </a:moveTo>
                  <a:cubicBezTo>
                    <a:pt x="332136" y="252592"/>
                    <a:pt x="358993" y="257539"/>
                    <a:pt x="379186" y="242496"/>
                  </a:cubicBezTo>
                  <a:cubicBezTo>
                    <a:pt x="398672" y="246635"/>
                    <a:pt x="413918" y="264708"/>
                    <a:pt x="416745" y="286718"/>
                  </a:cubicBezTo>
                  <a:cubicBezTo>
                    <a:pt x="419572" y="309031"/>
                    <a:pt x="415129" y="328921"/>
                    <a:pt x="399783" y="336393"/>
                  </a:cubicBezTo>
                  <a:lnTo>
                    <a:pt x="342536" y="336090"/>
                  </a:lnTo>
                  <a:cubicBezTo>
                    <a:pt x="345060" y="305801"/>
                    <a:pt x="339709" y="270059"/>
                    <a:pt x="305583" y="250674"/>
                  </a:cubicBezTo>
                  <a:cubicBezTo>
                    <a:pt x="311136" y="245424"/>
                    <a:pt x="316083" y="243808"/>
                    <a:pt x="322242" y="242193"/>
                  </a:cubicBezTo>
                  <a:close/>
                  <a:moveTo>
                    <a:pt x="105975" y="241890"/>
                  </a:moveTo>
                  <a:cubicBezTo>
                    <a:pt x="120312" y="256328"/>
                    <a:pt x="146765" y="254712"/>
                    <a:pt x="162616" y="242496"/>
                  </a:cubicBezTo>
                  <a:cubicBezTo>
                    <a:pt x="171198" y="243909"/>
                    <a:pt x="177660" y="249260"/>
                    <a:pt x="184728" y="254006"/>
                  </a:cubicBezTo>
                  <a:cubicBezTo>
                    <a:pt x="170290" y="263294"/>
                    <a:pt x="149794" y="291665"/>
                    <a:pt x="153227" y="336393"/>
                  </a:cubicBezTo>
                  <a:lnTo>
                    <a:pt x="89013" y="336090"/>
                  </a:lnTo>
                  <a:cubicBezTo>
                    <a:pt x="71041" y="329426"/>
                    <a:pt x="65791" y="308224"/>
                    <a:pt x="69628" y="285204"/>
                  </a:cubicBezTo>
                  <a:cubicBezTo>
                    <a:pt x="75080" y="261073"/>
                    <a:pt x="87196" y="248453"/>
                    <a:pt x="105975" y="241890"/>
                  </a:cubicBezTo>
                  <a:close/>
                  <a:moveTo>
                    <a:pt x="350678" y="167920"/>
                  </a:moveTo>
                  <a:cubicBezTo>
                    <a:pt x="370732" y="167920"/>
                    <a:pt x="386989" y="184177"/>
                    <a:pt x="386989" y="204231"/>
                  </a:cubicBezTo>
                  <a:cubicBezTo>
                    <a:pt x="386989" y="224285"/>
                    <a:pt x="370732" y="240543"/>
                    <a:pt x="350678" y="240543"/>
                  </a:cubicBezTo>
                  <a:cubicBezTo>
                    <a:pt x="330623" y="240543"/>
                    <a:pt x="314366" y="224285"/>
                    <a:pt x="314366" y="204231"/>
                  </a:cubicBezTo>
                  <a:cubicBezTo>
                    <a:pt x="314366" y="184177"/>
                    <a:pt x="330623" y="167920"/>
                    <a:pt x="350678" y="167920"/>
                  </a:cubicBezTo>
                  <a:close/>
                  <a:moveTo>
                    <a:pt x="136532" y="167920"/>
                  </a:moveTo>
                  <a:cubicBezTo>
                    <a:pt x="156586" y="167920"/>
                    <a:pt x="172843" y="184177"/>
                    <a:pt x="172843" y="204231"/>
                  </a:cubicBezTo>
                  <a:cubicBezTo>
                    <a:pt x="172843" y="224285"/>
                    <a:pt x="156586" y="240543"/>
                    <a:pt x="136532" y="240543"/>
                  </a:cubicBezTo>
                  <a:cubicBezTo>
                    <a:pt x="116477" y="240543"/>
                    <a:pt x="100220" y="224285"/>
                    <a:pt x="100220" y="204231"/>
                  </a:cubicBezTo>
                  <a:cubicBezTo>
                    <a:pt x="100220" y="184177"/>
                    <a:pt x="116477" y="167920"/>
                    <a:pt x="136532" y="167920"/>
                  </a:cubicBezTo>
                  <a:close/>
                  <a:moveTo>
                    <a:pt x="247684" y="166352"/>
                  </a:moveTo>
                  <a:cubicBezTo>
                    <a:pt x="271798" y="166352"/>
                    <a:pt x="291346" y="185901"/>
                    <a:pt x="291346" y="210015"/>
                  </a:cubicBezTo>
                  <a:cubicBezTo>
                    <a:pt x="291346" y="234129"/>
                    <a:pt x="271798" y="253677"/>
                    <a:pt x="247684" y="253677"/>
                  </a:cubicBezTo>
                  <a:cubicBezTo>
                    <a:pt x="223570" y="253677"/>
                    <a:pt x="204022" y="234129"/>
                    <a:pt x="204022" y="210015"/>
                  </a:cubicBezTo>
                  <a:cubicBezTo>
                    <a:pt x="204022" y="185901"/>
                    <a:pt x="223570" y="166352"/>
                    <a:pt x="247684" y="166352"/>
                  </a:cubicBezTo>
                  <a:close/>
                  <a:moveTo>
                    <a:pt x="242996" y="0"/>
                  </a:moveTo>
                  <a:cubicBezTo>
                    <a:pt x="246986" y="0"/>
                    <a:pt x="250773" y="871"/>
                    <a:pt x="254122" y="2559"/>
                  </a:cubicBezTo>
                  <a:lnTo>
                    <a:pt x="254473" y="2619"/>
                  </a:lnTo>
                  <a:lnTo>
                    <a:pt x="475616" y="87750"/>
                  </a:lnTo>
                  <a:cubicBezTo>
                    <a:pt x="483957" y="90961"/>
                    <a:pt x="488123" y="100345"/>
                    <a:pt x="484921" y="108711"/>
                  </a:cubicBezTo>
                  <a:cubicBezTo>
                    <a:pt x="482326" y="115491"/>
                    <a:pt x="475686" y="119521"/>
                    <a:pt x="468836" y="118858"/>
                  </a:cubicBezTo>
                  <a:lnTo>
                    <a:pt x="17179" y="118858"/>
                  </a:lnTo>
                  <a:cubicBezTo>
                    <a:pt x="10324" y="119529"/>
                    <a:pt x="3676" y="115498"/>
                    <a:pt x="1079" y="108713"/>
                  </a:cubicBezTo>
                  <a:cubicBezTo>
                    <a:pt x="-2123" y="100348"/>
                    <a:pt x="2043" y="90963"/>
                    <a:pt x="10385" y="87752"/>
                  </a:cubicBezTo>
                  <a:lnTo>
                    <a:pt x="10526" y="87698"/>
                  </a:lnTo>
                  <a:cubicBezTo>
                    <a:pt x="10540" y="87687"/>
                    <a:pt x="10556" y="87680"/>
                    <a:pt x="10575" y="87679"/>
                  </a:cubicBezTo>
                  <a:lnTo>
                    <a:pt x="231527" y="2621"/>
                  </a:lnTo>
                  <a:lnTo>
                    <a:pt x="231862" y="2564"/>
                  </a:lnTo>
                  <a:cubicBezTo>
                    <a:pt x="235212" y="872"/>
                    <a:pt x="239002" y="0"/>
                    <a:pt x="242996" y="0"/>
                  </a:cubicBezTo>
                  <a:close/>
                </a:path>
              </a:pathLst>
            </a:cu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16" name="Gruppieren 204">
            <a:extLst>
              <a:ext uri="{FF2B5EF4-FFF2-40B4-BE49-F238E27FC236}">
                <a16:creationId xmlns:a16="http://schemas.microsoft.com/office/drawing/2014/main" id="{6FE9629B-1EE7-48DC-8896-77C10530B0FD}"/>
              </a:ext>
            </a:extLst>
          </p:cNvPr>
          <p:cNvGrpSpPr>
            <a:grpSpLocks noChangeAspect="1"/>
          </p:cNvGrpSpPr>
          <p:nvPr>
            <p:custDataLst>
              <p:tags r:id="rId20"/>
            </p:custDataLst>
          </p:nvPr>
        </p:nvGrpSpPr>
        <p:grpSpPr bwMode="gray">
          <a:xfrm>
            <a:off x="10634129" y="3069016"/>
            <a:ext cx="504000" cy="504000"/>
            <a:chOff x="10558338" y="1900586"/>
            <a:chExt cx="680476" cy="680476"/>
          </a:xfrm>
        </p:grpSpPr>
        <p:sp>
          <p:nvSpPr>
            <p:cNvPr id="117" name="Abgerundetes Rechteck 145">
              <a:extLst>
                <a:ext uri="{FF2B5EF4-FFF2-40B4-BE49-F238E27FC236}">
                  <a16:creationId xmlns:a16="http://schemas.microsoft.com/office/drawing/2014/main" id="{5904ED2F-3B4D-41BE-8422-8E04301CC45C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gray">
            <a:xfrm>
              <a:off x="10558338" y="1900586"/>
              <a:ext cx="680476" cy="680476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lIns="90000" tIns="108000" rIns="90000" bIns="46800" rtlCol="0" anchor="t" anchorCtr="0"/>
            <a:lstStyle/>
            <a:p>
              <a:pPr>
                <a:buClr>
                  <a:srgbClr val="FF0000"/>
                </a:buClr>
                <a:buSzPct val="250000"/>
                <a:tabLst>
                  <a:tab pos="90000" algn="l"/>
                </a:tabLst>
              </a:pPr>
              <a:endParaRPr lang="de-DE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18" name="Freeform 105">
              <a:extLst>
                <a:ext uri="{FF2B5EF4-FFF2-40B4-BE49-F238E27FC236}">
                  <a16:creationId xmlns:a16="http://schemas.microsoft.com/office/drawing/2014/main" id="{6BA93ECC-BD4D-46DB-831B-4452EC167ADB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10651790" y="1986936"/>
              <a:ext cx="493571" cy="514800"/>
            </a:xfrm>
            <a:custGeom>
              <a:avLst/>
              <a:gdLst>
                <a:gd name="T0" fmla="*/ 93 w 258"/>
                <a:gd name="T1" fmla="*/ 260 h 269"/>
                <a:gd name="T2" fmla="*/ 155 w 258"/>
                <a:gd name="T3" fmla="*/ 269 h 269"/>
                <a:gd name="T4" fmla="*/ 165 w 258"/>
                <a:gd name="T5" fmla="*/ 247 h 269"/>
                <a:gd name="T6" fmla="*/ 136 w 258"/>
                <a:gd name="T7" fmla="*/ 238 h 269"/>
                <a:gd name="T8" fmla="*/ 122 w 258"/>
                <a:gd name="T9" fmla="*/ 213 h 269"/>
                <a:gd name="T10" fmla="*/ 103 w 258"/>
                <a:gd name="T11" fmla="*/ 238 h 269"/>
                <a:gd name="T12" fmla="*/ 84 w 258"/>
                <a:gd name="T13" fmla="*/ 246 h 269"/>
                <a:gd name="T14" fmla="*/ 10 w 258"/>
                <a:gd name="T15" fmla="*/ 260 h 269"/>
                <a:gd name="T16" fmla="*/ 84 w 258"/>
                <a:gd name="T17" fmla="*/ 246 h 269"/>
                <a:gd name="T18" fmla="*/ 127 w 258"/>
                <a:gd name="T19" fmla="*/ 41 h 269"/>
                <a:gd name="T20" fmla="*/ 140 w 258"/>
                <a:gd name="T21" fmla="*/ 101 h 269"/>
                <a:gd name="T22" fmla="*/ 159 w 258"/>
                <a:gd name="T23" fmla="*/ 75 h 269"/>
                <a:gd name="T24" fmla="*/ 139 w 258"/>
                <a:gd name="T25" fmla="*/ 64 h 269"/>
                <a:gd name="T26" fmla="*/ 164 w 258"/>
                <a:gd name="T27" fmla="*/ 51 h 269"/>
                <a:gd name="T28" fmla="*/ 112 w 258"/>
                <a:gd name="T29" fmla="*/ 41 h 269"/>
                <a:gd name="T30" fmla="*/ 99 w 258"/>
                <a:gd name="T31" fmla="*/ 101 h 269"/>
                <a:gd name="T32" fmla="*/ 112 w 258"/>
                <a:gd name="T33" fmla="*/ 41 h 269"/>
                <a:gd name="T34" fmla="*/ 48 w 258"/>
                <a:gd name="T35" fmla="*/ 121 h 269"/>
                <a:gd name="T36" fmla="*/ 48 w 258"/>
                <a:gd name="T37" fmla="*/ 120 h 269"/>
                <a:gd name="T38" fmla="*/ 48 w 258"/>
                <a:gd name="T39" fmla="*/ 22 h 269"/>
                <a:gd name="T40" fmla="*/ 209 w 258"/>
                <a:gd name="T41" fmla="*/ 22 h 269"/>
                <a:gd name="T42" fmla="*/ 210 w 258"/>
                <a:gd name="T43" fmla="*/ 120 h 269"/>
                <a:gd name="T44" fmla="*/ 231 w 258"/>
                <a:gd name="T45" fmla="*/ 22 h 269"/>
                <a:gd name="T46" fmla="*/ 48 w 258"/>
                <a:gd name="T47" fmla="*/ 0 h 269"/>
                <a:gd name="T48" fmla="*/ 28 w 258"/>
                <a:gd name="T49" fmla="*/ 67 h 269"/>
                <a:gd name="T50" fmla="*/ 49 w 258"/>
                <a:gd name="T51" fmla="*/ 143 h 269"/>
                <a:gd name="T52" fmla="*/ 230 w 258"/>
                <a:gd name="T53" fmla="*/ 121 h 269"/>
                <a:gd name="T54" fmla="*/ 213 w 258"/>
                <a:gd name="T55" fmla="*/ 177 h 269"/>
                <a:gd name="T56" fmla="*/ 203 w 258"/>
                <a:gd name="T57" fmla="*/ 187 h 269"/>
                <a:gd name="T58" fmla="*/ 193 w 258"/>
                <a:gd name="T59" fmla="*/ 177 h 269"/>
                <a:gd name="T60" fmla="*/ 203 w 258"/>
                <a:gd name="T61" fmla="*/ 167 h 269"/>
                <a:gd name="T62" fmla="*/ 210 w 258"/>
                <a:gd name="T63" fmla="*/ 170 h 269"/>
                <a:gd name="T64" fmla="*/ 231 w 258"/>
                <a:gd name="T65" fmla="*/ 183 h 269"/>
                <a:gd name="T66" fmla="*/ 212 w 258"/>
                <a:gd name="T67" fmla="*/ 153 h 269"/>
                <a:gd name="T68" fmla="*/ 27 w 258"/>
                <a:gd name="T69" fmla="*/ 173 h 269"/>
                <a:gd name="T70" fmla="*/ 47 w 258"/>
                <a:gd name="T71" fmla="*/ 203 h 269"/>
                <a:gd name="T72" fmla="*/ 231 w 258"/>
                <a:gd name="T73" fmla="*/ 183 h 269"/>
                <a:gd name="T74" fmla="*/ 174 w 258"/>
                <a:gd name="T75" fmla="*/ 246 h 269"/>
                <a:gd name="T76" fmla="*/ 248 w 258"/>
                <a:gd name="T77" fmla="*/ 261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58" h="269">
                  <a:moveTo>
                    <a:pt x="93" y="247"/>
                  </a:moveTo>
                  <a:cubicBezTo>
                    <a:pt x="93" y="260"/>
                    <a:pt x="93" y="260"/>
                    <a:pt x="93" y="260"/>
                  </a:cubicBezTo>
                  <a:cubicBezTo>
                    <a:pt x="93" y="260"/>
                    <a:pt x="93" y="269"/>
                    <a:pt x="103" y="269"/>
                  </a:cubicBezTo>
                  <a:cubicBezTo>
                    <a:pt x="155" y="269"/>
                    <a:pt x="155" y="269"/>
                    <a:pt x="155" y="269"/>
                  </a:cubicBezTo>
                  <a:cubicBezTo>
                    <a:pt x="165" y="269"/>
                    <a:pt x="165" y="260"/>
                    <a:pt x="165" y="260"/>
                  </a:cubicBezTo>
                  <a:cubicBezTo>
                    <a:pt x="165" y="247"/>
                    <a:pt x="165" y="247"/>
                    <a:pt x="165" y="247"/>
                  </a:cubicBezTo>
                  <a:cubicBezTo>
                    <a:pt x="165" y="247"/>
                    <a:pt x="165" y="238"/>
                    <a:pt x="155" y="238"/>
                  </a:cubicBezTo>
                  <a:cubicBezTo>
                    <a:pt x="136" y="238"/>
                    <a:pt x="136" y="238"/>
                    <a:pt x="136" y="238"/>
                  </a:cubicBezTo>
                  <a:cubicBezTo>
                    <a:pt x="136" y="213"/>
                    <a:pt x="136" y="213"/>
                    <a:pt x="136" y="213"/>
                  </a:cubicBezTo>
                  <a:cubicBezTo>
                    <a:pt x="122" y="213"/>
                    <a:pt x="122" y="213"/>
                    <a:pt x="122" y="213"/>
                  </a:cubicBezTo>
                  <a:cubicBezTo>
                    <a:pt x="122" y="238"/>
                    <a:pt x="122" y="238"/>
                    <a:pt x="122" y="238"/>
                  </a:cubicBezTo>
                  <a:cubicBezTo>
                    <a:pt x="103" y="238"/>
                    <a:pt x="103" y="238"/>
                    <a:pt x="103" y="238"/>
                  </a:cubicBezTo>
                  <a:cubicBezTo>
                    <a:pt x="94" y="238"/>
                    <a:pt x="93" y="247"/>
                    <a:pt x="93" y="247"/>
                  </a:cubicBezTo>
                  <a:moveTo>
                    <a:pt x="84" y="246"/>
                  </a:moveTo>
                  <a:cubicBezTo>
                    <a:pt x="10" y="246"/>
                    <a:pt x="10" y="246"/>
                    <a:pt x="10" y="246"/>
                  </a:cubicBezTo>
                  <a:cubicBezTo>
                    <a:pt x="0" y="246"/>
                    <a:pt x="0" y="260"/>
                    <a:pt x="10" y="260"/>
                  </a:cubicBezTo>
                  <a:cubicBezTo>
                    <a:pt x="84" y="260"/>
                    <a:pt x="84" y="260"/>
                    <a:pt x="84" y="260"/>
                  </a:cubicBezTo>
                  <a:cubicBezTo>
                    <a:pt x="84" y="260"/>
                    <a:pt x="84" y="246"/>
                    <a:pt x="84" y="246"/>
                  </a:cubicBezTo>
                  <a:moveTo>
                    <a:pt x="164" y="41"/>
                  </a:moveTo>
                  <a:cubicBezTo>
                    <a:pt x="127" y="41"/>
                    <a:pt x="127" y="41"/>
                    <a:pt x="127" y="41"/>
                  </a:cubicBezTo>
                  <a:cubicBezTo>
                    <a:pt x="127" y="101"/>
                    <a:pt x="127" y="101"/>
                    <a:pt x="127" y="101"/>
                  </a:cubicBezTo>
                  <a:cubicBezTo>
                    <a:pt x="140" y="101"/>
                    <a:pt x="140" y="101"/>
                    <a:pt x="140" y="101"/>
                  </a:cubicBezTo>
                  <a:cubicBezTo>
                    <a:pt x="140" y="75"/>
                    <a:pt x="140" y="75"/>
                    <a:pt x="140" y="75"/>
                  </a:cubicBezTo>
                  <a:cubicBezTo>
                    <a:pt x="159" y="75"/>
                    <a:pt x="159" y="75"/>
                    <a:pt x="159" y="75"/>
                  </a:cubicBezTo>
                  <a:cubicBezTo>
                    <a:pt x="159" y="64"/>
                    <a:pt x="159" y="64"/>
                    <a:pt x="159" y="64"/>
                  </a:cubicBezTo>
                  <a:cubicBezTo>
                    <a:pt x="139" y="64"/>
                    <a:pt x="139" y="64"/>
                    <a:pt x="139" y="64"/>
                  </a:cubicBezTo>
                  <a:cubicBezTo>
                    <a:pt x="139" y="51"/>
                    <a:pt x="139" y="51"/>
                    <a:pt x="139" y="51"/>
                  </a:cubicBezTo>
                  <a:cubicBezTo>
                    <a:pt x="164" y="51"/>
                    <a:pt x="164" y="51"/>
                    <a:pt x="164" y="51"/>
                  </a:cubicBezTo>
                  <a:lnTo>
                    <a:pt x="164" y="41"/>
                  </a:lnTo>
                  <a:close/>
                  <a:moveTo>
                    <a:pt x="112" y="41"/>
                  </a:moveTo>
                  <a:cubicBezTo>
                    <a:pt x="99" y="41"/>
                    <a:pt x="99" y="41"/>
                    <a:pt x="99" y="41"/>
                  </a:cubicBezTo>
                  <a:cubicBezTo>
                    <a:pt x="99" y="101"/>
                    <a:pt x="99" y="101"/>
                    <a:pt x="99" y="101"/>
                  </a:cubicBezTo>
                  <a:cubicBezTo>
                    <a:pt x="112" y="101"/>
                    <a:pt x="112" y="101"/>
                    <a:pt x="112" y="101"/>
                  </a:cubicBezTo>
                  <a:lnTo>
                    <a:pt x="112" y="41"/>
                  </a:lnTo>
                  <a:close/>
                  <a:moveTo>
                    <a:pt x="210" y="120"/>
                  </a:moveTo>
                  <a:cubicBezTo>
                    <a:pt x="48" y="121"/>
                    <a:pt x="48" y="121"/>
                    <a:pt x="48" y="121"/>
                  </a:cubicBezTo>
                  <a:cubicBezTo>
                    <a:pt x="48" y="120"/>
                    <a:pt x="48" y="120"/>
                    <a:pt x="48" y="120"/>
                  </a:cubicBezTo>
                  <a:cubicBezTo>
                    <a:pt x="48" y="120"/>
                    <a:pt x="48" y="120"/>
                    <a:pt x="48" y="120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129" y="22"/>
                    <a:pt x="129" y="22"/>
                    <a:pt x="129" y="22"/>
                  </a:cubicBezTo>
                  <a:cubicBezTo>
                    <a:pt x="209" y="22"/>
                    <a:pt x="209" y="22"/>
                    <a:pt x="209" y="22"/>
                  </a:cubicBezTo>
                  <a:cubicBezTo>
                    <a:pt x="210" y="22"/>
                    <a:pt x="210" y="22"/>
                    <a:pt x="210" y="22"/>
                  </a:cubicBezTo>
                  <a:lnTo>
                    <a:pt x="210" y="120"/>
                  </a:lnTo>
                  <a:close/>
                  <a:moveTo>
                    <a:pt x="230" y="76"/>
                  </a:moveTo>
                  <a:cubicBezTo>
                    <a:pt x="231" y="22"/>
                    <a:pt x="231" y="22"/>
                    <a:pt x="231" y="22"/>
                  </a:cubicBezTo>
                  <a:cubicBezTo>
                    <a:pt x="231" y="0"/>
                    <a:pt x="230" y="0"/>
                    <a:pt x="21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7" y="0"/>
                    <a:pt x="28" y="0"/>
                    <a:pt x="28" y="22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7" y="121"/>
                    <a:pt x="27" y="121"/>
                    <a:pt x="27" y="121"/>
                  </a:cubicBezTo>
                  <a:cubicBezTo>
                    <a:pt x="27" y="143"/>
                    <a:pt x="28" y="143"/>
                    <a:pt x="49" y="143"/>
                  </a:cubicBezTo>
                  <a:cubicBezTo>
                    <a:pt x="211" y="143"/>
                    <a:pt x="211" y="143"/>
                    <a:pt x="211" y="143"/>
                  </a:cubicBezTo>
                  <a:cubicBezTo>
                    <a:pt x="231" y="143"/>
                    <a:pt x="230" y="143"/>
                    <a:pt x="230" y="121"/>
                  </a:cubicBezTo>
                  <a:lnTo>
                    <a:pt x="230" y="76"/>
                  </a:lnTo>
                  <a:close/>
                  <a:moveTo>
                    <a:pt x="213" y="177"/>
                  </a:moveTo>
                  <a:cubicBezTo>
                    <a:pt x="213" y="180"/>
                    <a:pt x="212" y="182"/>
                    <a:pt x="210" y="184"/>
                  </a:cubicBezTo>
                  <a:cubicBezTo>
                    <a:pt x="208" y="186"/>
                    <a:pt x="206" y="187"/>
                    <a:pt x="203" y="187"/>
                  </a:cubicBezTo>
                  <a:cubicBezTo>
                    <a:pt x="200" y="187"/>
                    <a:pt x="198" y="186"/>
                    <a:pt x="196" y="184"/>
                  </a:cubicBezTo>
                  <a:cubicBezTo>
                    <a:pt x="194" y="182"/>
                    <a:pt x="193" y="180"/>
                    <a:pt x="193" y="177"/>
                  </a:cubicBezTo>
                  <a:cubicBezTo>
                    <a:pt x="193" y="174"/>
                    <a:pt x="194" y="171"/>
                    <a:pt x="196" y="170"/>
                  </a:cubicBezTo>
                  <a:cubicBezTo>
                    <a:pt x="198" y="168"/>
                    <a:pt x="200" y="167"/>
                    <a:pt x="203" y="167"/>
                  </a:cubicBezTo>
                  <a:cubicBezTo>
                    <a:pt x="206" y="167"/>
                    <a:pt x="208" y="168"/>
                    <a:pt x="210" y="170"/>
                  </a:cubicBezTo>
                  <a:cubicBezTo>
                    <a:pt x="208" y="168"/>
                    <a:pt x="212" y="171"/>
                    <a:pt x="210" y="170"/>
                  </a:cubicBezTo>
                  <a:cubicBezTo>
                    <a:pt x="212" y="171"/>
                    <a:pt x="213" y="174"/>
                    <a:pt x="213" y="177"/>
                  </a:cubicBezTo>
                  <a:moveTo>
                    <a:pt x="231" y="183"/>
                  </a:moveTo>
                  <a:cubicBezTo>
                    <a:pt x="231" y="173"/>
                    <a:pt x="231" y="173"/>
                    <a:pt x="231" y="173"/>
                  </a:cubicBezTo>
                  <a:cubicBezTo>
                    <a:pt x="231" y="173"/>
                    <a:pt x="232" y="153"/>
                    <a:pt x="212" y="153"/>
                  </a:cubicBezTo>
                  <a:cubicBezTo>
                    <a:pt x="47" y="153"/>
                    <a:pt x="47" y="153"/>
                    <a:pt x="47" y="153"/>
                  </a:cubicBezTo>
                  <a:cubicBezTo>
                    <a:pt x="28" y="153"/>
                    <a:pt x="27" y="173"/>
                    <a:pt x="27" y="173"/>
                  </a:cubicBezTo>
                  <a:cubicBezTo>
                    <a:pt x="27" y="183"/>
                    <a:pt x="27" y="183"/>
                    <a:pt x="27" y="183"/>
                  </a:cubicBezTo>
                  <a:cubicBezTo>
                    <a:pt x="27" y="183"/>
                    <a:pt x="28" y="203"/>
                    <a:pt x="47" y="203"/>
                  </a:cubicBezTo>
                  <a:cubicBezTo>
                    <a:pt x="212" y="203"/>
                    <a:pt x="212" y="203"/>
                    <a:pt x="212" y="203"/>
                  </a:cubicBezTo>
                  <a:cubicBezTo>
                    <a:pt x="232" y="203"/>
                    <a:pt x="231" y="183"/>
                    <a:pt x="231" y="183"/>
                  </a:cubicBezTo>
                  <a:moveTo>
                    <a:pt x="248" y="246"/>
                  </a:moveTo>
                  <a:cubicBezTo>
                    <a:pt x="174" y="246"/>
                    <a:pt x="174" y="246"/>
                    <a:pt x="174" y="246"/>
                  </a:cubicBezTo>
                  <a:cubicBezTo>
                    <a:pt x="174" y="247"/>
                    <a:pt x="174" y="260"/>
                    <a:pt x="174" y="261"/>
                  </a:cubicBezTo>
                  <a:cubicBezTo>
                    <a:pt x="248" y="261"/>
                    <a:pt x="248" y="261"/>
                    <a:pt x="248" y="261"/>
                  </a:cubicBezTo>
                  <a:cubicBezTo>
                    <a:pt x="258" y="261"/>
                    <a:pt x="258" y="246"/>
                    <a:pt x="248" y="246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19" name="Gruppieren 47">
            <a:extLst>
              <a:ext uri="{FF2B5EF4-FFF2-40B4-BE49-F238E27FC236}">
                <a16:creationId xmlns:a16="http://schemas.microsoft.com/office/drawing/2014/main" id="{B1C4C761-CA90-425B-88C7-103397EDF874}"/>
              </a:ext>
            </a:extLst>
          </p:cNvPr>
          <p:cNvGrpSpPr>
            <a:grpSpLocks noChangeAspect="1"/>
          </p:cNvGrpSpPr>
          <p:nvPr>
            <p:custDataLst>
              <p:tags r:id="rId21"/>
            </p:custDataLst>
          </p:nvPr>
        </p:nvGrpSpPr>
        <p:grpSpPr bwMode="gray">
          <a:xfrm>
            <a:off x="11282219" y="3069016"/>
            <a:ext cx="504000" cy="504000"/>
            <a:chOff x="4797302" y="1900586"/>
            <a:chExt cx="680476" cy="680476"/>
          </a:xfrm>
          <a:noFill/>
        </p:grpSpPr>
        <p:sp>
          <p:nvSpPr>
            <p:cNvPr id="120" name="Abgerundetes Rechteck 145">
              <a:extLst>
                <a:ext uri="{FF2B5EF4-FFF2-40B4-BE49-F238E27FC236}">
                  <a16:creationId xmlns:a16="http://schemas.microsoft.com/office/drawing/2014/main" id="{D2CDCC58-9D10-4687-A6CF-6AC21AC7BC81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4797302" y="1900586"/>
              <a:ext cx="680476" cy="68047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lIns="90000" tIns="108000" rIns="90000" bIns="46800" rtlCol="0" anchor="t" anchorCtr="0"/>
            <a:lstStyle/>
            <a:p>
              <a:pPr>
                <a:buClr>
                  <a:srgbClr val="FF0000"/>
                </a:buClr>
                <a:buSzPct val="250000"/>
                <a:tabLst>
                  <a:tab pos="90000" algn="l"/>
                </a:tabLst>
              </a:pPr>
              <a:endParaRPr lang="de-DE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21" name="Ellipse 9">
              <a:extLst>
                <a:ext uri="{FF2B5EF4-FFF2-40B4-BE49-F238E27FC236}">
                  <a16:creationId xmlns:a16="http://schemas.microsoft.com/office/drawing/2014/main" id="{F452A984-5FCE-4E5B-A83C-CF000CE65825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4894318" y="2027059"/>
              <a:ext cx="487403" cy="438518"/>
            </a:xfrm>
            <a:custGeom>
              <a:avLst/>
              <a:gdLst/>
              <a:ahLst/>
              <a:cxnLst/>
              <a:rect l="l" t="t" r="r" b="b"/>
              <a:pathLst>
                <a:path w="2841146" h="2556188">
                  <a:moveTo>
                    <a:pt x="2085014" y="684076"/>
                  </a:moveTo>
                  <a:cubicBezTo>
                    <a:pt x="2323601" y="684076"/>
                    <a:pt x="2517014" y="877489"/>
                    <a:pt x="2517014" y="1116076"/>
                  </a:cubicBezTo>
                  <a:cubicBezTo>
                    <a:pt x="2517014" y="1286297"/>
                    <a:pt x="2418563" y="1433524"/>
                    <a:pt x="2274753" y="1502411"/>
                  </a:cubicBezTo>
                  <a:cubicBezTo>
                    <a:pt x="2589941" y="1579216"/>
                    <a:pt x="2824804" y="1851387"/>
                    <a:pt x="2839374" y="2179477"/>
                  </a:cubicBezTo>
                  <a:cubicBezTo>
                    <a:pt x="2840875" y="2184954"/>
                    <a:pt x="2841146" y="2190556"/>
                    <a:pt x="2841146" y="2196188"/>
                  </a:cubicBezTo>
                  <a:lnTo>
                    <a:pt x="2840537" y="2201938"/>
                  </a:lnTo>
                  <a:cubicBezTo>
                    <a:pt x="2841115" y="2205852"/>
                    <a:pt x="2841146" y="2209781"/>
                    <a:pt x="2841146" y="2213718"/>
                  </a:cubicBezTo>
                  <a:lnTo>
                    <a:pt x="2839287" y="2213718"/>
                  </a:lnTo>
                  <a:cubicBezTo>
                    <a:pt x="2820953" y="2404451"/>
                    <a:pt x="2490261" y="2556188"/>
                    <a:pt x="2085146" y="2556188"/>
                  </a:cubicBezTo>
                  <a:cubicBezTo>
                    <a:pt x="1680031" y="2556188"/>
                    <a:pt x="1349339" y="2404451"/>
                    <a:pt x="1331005" y="2213718"/>
                  </a:cubicBezTo>
                  <a:lnTo>
                    <a:pt x="1329146" y="2213718"/>
                  </a:lnTo>
                  <a:lnTo>
                    <a:pt x="1329756" y="2201938"/>
                  </a:lnTo>
                  <a:cubicBezTo>
                    <a:pt x="1329178" y="2200036"/>
                    <a:pt x="1329146" y="2198114"/>
                    <a:pt x="1329146" y="2196188"/>
                  </a:cubicBezTo>
                  <a:lnTo>
                    <a:pt x="1330918" y="2179477"/>
                  </a:lnTo>
                  <a:cubicBezTo>
                    <a:pt x="1345485" y="1851447"/>
                    <a:pt x="1580265" y="1579316"/>
                    <a:pt x="1895368" y="1502462"/>
                  </a:cubicBezTo>
                  <a:cubicBezTo>
                    <a:pt x="1751509" y="1433589"/>
                    <a:pt x="1653014" y="1286335"/>
                    <a:pt x="1653014" y="1116076"/>
                  </a:cubicBezTo>
                  <a:cubicBezTo>
                    <a:pt x="1653014" y="877489"/>
                    <a:pt x="1846427" y="684076"/>
                    <a:pt x="2085014" y="684076"/>
                  </a:cubicBezTo>
                  <a:close/>
                  <a:moveTo>
                    <a:pt x="1005010" y="0"/>
                  </a:moveTo>
                  <a:cubicBezTo>
                    <a:pt x="1343008" y="0"/>
                    <a:pt x="1617010" y="274002"/>
                    <a:pt x="1617010" y="612000"/>
                  </a:cubicBezTo>
                  <a:cubicBezTo>
                    <a:pt x="1617010" y="819117"/>
                    <a:pt x="1514124" y="1002204"/>
                    <a:pt x="1356100" y="1112125"/>
                  </a:cubicBezTo>
                  <a:cubicBezTo>
                    <a:pt x="1427727" y="1132097"/>
                    <a:pt x="1493024" y="1160848"/>
                    <a:pt x="1550836" y="1195214"/>
                  </a:cubicBezTo>
                  <a:cubicBezTo>
                    <a:pt x="1568384" y="1314405"/>
                    <a:pt x="1624883" y="1414160"/>
                    <a:pt x="1702008" y="1466883"/>
                  </a:cubicBezTo>
                  <a:cubicBezTo>
                    <a:pt x="1605213" y="1508281"/>
                    <a:pt x="1509427" y="1574906"/>
                    <a:pt x="1424408" y="1662946"/>
                  </a:cubicBezTo>
                  <a:cubicBezTo>
                    <a:pt x="1175803" y="1920384"/>
                    <a:pt x="1113399" y="2263434"/>
                    <a:pt x="1285024" y="2429171"/>
                  </a:cubicBezTo>
                  <a:cubicBezTo>
                    <a:pt x="1297987" y="2441689"/>
                    <a:pt x="1311914" y="2452837"/>
                    <a:pt x="1328431" y="2460020"/>
                  </a:cubicBezTo>
                  <a:cubicBezTo>
                    <a:pt x="1227440" y="2476268"/>
                    <a:pt x="1118516" y="2484188"/>
                    <a:pt x="1005050" y="2484188"/>
                  </a:cubicBezTo>
                  <a:cubicBezTo>
                    <a:pt x="620092" y="2484188"/>
                    <a:pt x="287402" y="2393015"/>
                    <a:pt x="130507" y="2260151"/>
                  </a:cubicBezTo>
                  <a:cubicBezTo>
                    <a:pt x="130427" y="2260130"/>
                    <a:pt x="130365" y="2260085"/>
                    <a:pt x="130303" y="2260040"/>
                  </a:cubicBezTo>
                  <a:lnTo>
                    <a:pt x="129911" y="2259647"/>
                  </a:lnTo>
                  <a:cubicBezTo>
                    <a:pt x="110310" y="2244199"/>
                    <a:pt x="93829" y="2227517"/>
                    <a:pt x="80461" y="2210078"/>
                  </a:cubicBezTo>
                  <a:cubicBezTo>
                    <a:pt x="-56006" y="2047899"/>
                    <a:pt x="-16932" y="1727729"/>
                    <a:pt x="182853" y="1452749"/>
                  </a:cubicBezTo>
                  <a:cubicBezTo>
                    <a:pt x="219334" y="1402537"/>
                    <a:pt x="258904" y="1356955"/>
                    <a:pt x="301164" y="1317247"/>
                  </a:cubicBezTo>
                  <a:cubicBezTo>
                    <a:pt x="337352" y="1275542"/>
                    <a:pt x="383044" y="1238904"/>
                    <a:pt x="435875" y="1207783"/>
                  </a:cubicBezTo>
                  <a:cubicBezTo>
                    <a:pt x="507448" y="1159599"/>
                    <a:pt x="581482" y="1126900"/>
                    <a:pt x="652669" y="1111092"/>
                  </a:cubicBezTo>
                  <a:cubicBezTo>
                    <a:pt x="495320" y="1001176"/>
                    <a:pt x="393010" y="818536"/>
                    <a:pt x="393010" y="612000"/>
                  </a:cubicBezTo>
                  <a:cubicBezTo>
                    <a:pt x="393010" y="274002"/>
                    <a:pt x="667012" y="0"/>
                    <a:pt x="1005010" y="0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bg2"/>
                </a:solidFill>
              </a:endParaRPr>
            </a:p>
          </p:txBody>
        </p: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F4C86E-8973-442F-AC8A-D071DD83F4DE}"/>
              </a:ext>
            </a:extLst>
          </p:cNvPr>
          <p:cNvSpPr>
            <a:spLocks noGrp="1"/>
          </p:cNvSpPr>
          <p:nvPr>
            <p:ph type="dt" sz="half" idx="21"/>
          </p:nvPr>
        </p:nvSpPr>
        <p:spPr bwMode="gray"/>
        <p:txBody>
          <a:bodyPr/>
          <a:lstStyle/>
          <a:p>
            <a:fld id="{FB30BAF6-F542-474E-B81D-544D6D005B40}" type="datetime1">
              <a:rPr lang="de-DE" smtClean="0">
                <a:latin typeface="+mj-lt"/>
              </a:rPr>
              <a:t>18.12.2024</a:t>
            </a:fld>
            <a:endParaRPr lang="de-DE" dirty="0">
              <a:latin typeface="+mj-lt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66046B-8BF1-4339-AFDA-25E9C04F7397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23</a:t>
            </a:fld>
            <a:endParaRPr lang="de-DE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8412732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1A43B2C6-50DF-4244-AFC0-9FA369E4BB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4484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2" name="think-cell Folie" r:id="rId83" imgW="359" imgH="358" progId="TCLayout.ActiveDocument.1">
                  <p:embed/>
                </p:oleObj>
              </mc:Choice>
              <mc:Fallback>
                <p:oleObj name="think-cell Folie" r:id="rId83" imgW="359" imgH="358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1A43B2C6-50DF-4244-AFC0-9FA369E4BB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4" name="Textplatzhalter 11">
            <a:extLst>
              <a:ext uri="{FF2B5EF4-FFF2-40B4-BE49-F238E27FC236}">
                <a16:creationId xmlns:a16="http://schemas.microsoft.com/office/drawing/2014/main" id="{4348275D-E291-4890-92CE-92991A60A6F8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 rot="5400000">
            <a:off x="3218624" y="3861000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tIns="0" rIns="72000" bIns="0" anchor="ctr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lang="de-DE"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4000" dirty="0">
              <a:latin typeface="+mj-lt"/>
            </a:endParaRPr>
          </a:p>
        </p:txBody>
      </p:sp>
      <p:sp>
        <p:nvSpPr>
          <p:cNvPr id="166" name="Textplatzhalter 11">
            <a:extLst>
              <a:ext uri="{FF2B5EF4-FFF2-40B4-BE49-F238E27FC236}">
                <a16:creationId xmlns:a16="http://schemas.microsoft.com/office/drawing/2014/main" id="{FAFCAFC7-0C9F-404F-B8D1-5EF1BA5B9CF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 rot="5400000">
            <a:off x="1768631" y="3861000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tIns="0" rIns="72000" bIns="144000" anchor="ctr"/>
          <a:lstStyle>
            <a:defPPr>
              <a:defRPr lang="de-DE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rgbClr val="444B52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rgbClr val="444B52"/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rgbClr val="444B52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4400" b="1">
                <a:solidFill>
                  <a:srgbClr val="444B52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4400" b="1">
                <a:solidFill>
                  <a:srgbClr val="444B52"/>
                </a:solidFill>
              </a:defRPr>
            </a:lvl5pPr>
            <a:lvl6pPr marL="540000" indent="-18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baseline="0">
                <a:solidFill>
                  <a:srgbClr val="444B52"/>
                </a:solidFill>
              </a:defRPr>
            </a:lvl6pPr>
            <a:lvl7pPr marL="540000" indent="-18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baseline="0">
                <a:solidFill>
                  <a:srgbClr val="444B52"/>
                </a:solidFill>
              </a:defRPr>
            </a:lvl7pPr>
            <a:lvl8pPr marL="540000" indent="-18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baseline="0">
                <a:solidFill>
                  <a:srgbClr val="444B52"/>
                </a:solidFill>
              </a:defRPr>
            </a:lvl8pPr>
            <a:lvl9pPr marL="540000" indent="-18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baseline="0">
                <a:solidFill>
                  <a:srgbClr val="444B52"/>
                </a:solidFill>
              </a:defRPr>
            </a:lvl9pPr>
          </a:lstStyle>
          <a:p>
            <a:endParaRPr lang="de-DE" dirty="0"/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23097B15-E7A0-4923-BD4F-B41FB40C271D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336550" y="3861000"/>
            <a:ext cx="1080000" cy="1008000"/>
          </a:xfrm>
          <a:prstGeom prst="rect">
            <a:avLst/>
          </a:prstGeom>
          <a:solidFill>
            <a:schemeClr val="bg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73" name="Textplatzhalter 11">
            <a:extLst>
              <a:ext uri="{FF2B5EF4-FFF2-40B4-BE49-F238E27FC236}">
                <a16:creationId xmlns:a16="http://schemas.microsoft.com/office/drawing/2014/main" id="{32ADB33F-1BD6-4481-A467-ECE56B474E17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 rot="5400000">
            <a:off x="337587" y="3861000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2">
                    <a:alpha val="0"/>
                  </a:schemeClr>
                </a:gs>
                <a:gs pos="90000">
                  <a:schemeClr val="tx2"/>
                </a:gs>
              </a:gsLst>
              <a:lin ang="0" scaled="0"/>
              <a:tileRect/>
            </a:gradFill>
          </a:ln>
        </p:spPr>
        <p:txBody>
          <a:bodyPr vert="vert270" tIns="0" rIns="72000" bIns="144000" anchor="ctr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lang="de-DE"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4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268EF18F-4CBC-48F0-93D5-542C06291ECD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1137587" y="1629000"/>
            <a:ext cx="720000" cy="720000"/>
          </a:xfrm>
          <a:prstGeom prst="ellipse">
            <a:avLst/>
          </a:prstGeom>
          <a:solidFill>
            <a:srgbClr val="E2E41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</a:rPr>
              <a:t>Störer</a:t>
            </a: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F401E434-6E84-412B-B320-7ABA9B82C3C1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0294161" y="1629000"/>
            <a:ext cx="720000" cy="720000"/>
          </a:xfrm>
          <a:prstGeom prst="ellipse">
            <a:avLst/>
          </a:prstGeom>
          <a:solidFill>
            <a:srgbClr val="33996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>
                <a:solidFill>
                  <a:schemeClr val="tx2"/>
                </a:solidFill>
                <a:latin typeface="+mj-lt"/>
              </a:rPr>
              <a:t>Störer</a:t>
            </a: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82C30A68-AEC0-486D-AC8E-0EDA585FE6E9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9450732" y="1629000"/>
            <a:ext cx="720000" cy="720000"/>
          </a:xfrm>
          <a:prstGeom prst="ellipse">
            <a:avLst/>
          </a:prstGeom>
          <a:solidFill>
            <a:srgbClr val="00AEE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>
                <a:solidFill>
                  <a:schemeClr val="tx2"/>
                </a:solidFill>
                <a:latin typeface="+mj-lt"/>
              </a:rPr>
              <a:t>Störer</a:t>
            </a:r>
          </a:p>
        </p:txBody>
      </p:sp>
      <p:sp>
        <p:nvSpPr>
          <p:cNvPr id="51" name="Ellipse 50">
            <a:extLst>
              <a:ext uri="{FF2B5EF4-FFF2-40B4-BE49-F238E27FC236}">
                <a16:creationId xmlns:a16="http://schemas.microsoft.com/office/drawing/2014/main" id="{A37792EE-8E54-4CCC-9481-CD3051E50050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8607303" y="1629000"/>
            <a:ext cx="720000" cy="720000"/>
          </a:xfrm>
          <a:prstGeom prst="ellipse">
            <a:avLst/>
          </a:prstGeom>
          <a:solidFill>
            <a:srgbClr val="005AA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>
                <a:solidFill>
                  <a:schemeClr val="tx2"/>
                </a:solidFill>
                <a:latin typeface="+mj-lt"/>
              </a:rPr>
              <a:t>Störer</a:t>
            </a: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6315E377-B6AB-40D3-B044-7C0498C0C60B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7763874" y="1629000"/>
            <a:ext cx="720000" cy="720000"/>
          </a:xfrm>
          <a:prstGeom prst="ellipse">
            <a:avLst/>
          </a:prstGeom>
          <a:solidFill>
            <a:srgbClr val="9A258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>
                <a:solidFill>
                  <a:schemeClr val="tx2"/>
                </a:solidFill>
                <a:latin typeface="+mj-lt"/>
              </a:rPr>
              <a:t>Störer</a:t>
            </a: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5D99E3D5-0968-4FCE-98C5-5586092331C5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6920445" y="1629000"/>
            <a:ext cx="720000" cy="720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>
                <a:solidFill>
                  <a:schemeClr val="tx2"/>
                </a:solidFill>
                <a:latin typeface="+mj-lt"/>
              </a:rPr>
              <a:t>Störer</a:t>
            </a: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8383C96F-9E91-47D5-89B8-6102A82B5184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6077016" y="1629000"/>
            <a:ext cx="720000" cy="720000"/>
          </a:xfrm>
          <a:prstGeom prst="ellipse">
            <a:avLst/>
          </a:prstGeom>
          <a:solidFill>
            <a:srgbClr val="FF99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>
                <a:solidFill>
                  <a:schemeClr val="tx2"/>
                </a:solidFill>
                <a:latin typeface="+mj-lt"/>
              </a:rPr>
              <a:t>Störer</a:t>
            </a:r>
          </a:p>
        </p:txBody>
      </p:sp>
      <p:sp>
        <p:nvSpPr>
          <p:cNvPr id="50" name="Ellipse 49">
            <a:extLst>
              <a:ext uri="{FF2B5EF4-FFF2-40B4-BE49-F238E27FC236}">
                <a16:creationId xmlns:a16="http://schemas.microsoft.com/office/drawing/2014/main" id="{83A32EA4-6CE3-4765-AC74-1AD54BE2F57A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5233587" y="1629000"/>
            <a:ext cx="720000" cy="720000"/>
          </a:xfrm>
          <a:prstGeom prst="ellipse">
            <a:avLst/>
          </a:prstGeom>
          <a:solidFill>
            <a:srgbClr val="FFCC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</a:rPr>
              <a:t>Störer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DD40F23A-E23B-4B8B-BDD4-9DF92759BD7E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11137587" y="2493000"/>
            <a:ext cx="720000" cy="432000"/>
          </a:xfrm>
          <a:prstGeom prst="rect">
            <a:avLst/>
          </a:prstGeom>
          <a:solidFill>
            <a:srgbClr val="E2E41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</a:rPr>
              <a:t>Störer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B81E74F-A588-4A44-B44C-98E0FD3A3BBF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10294161" y="2493000"/>
            <a:ext cx="720000" cy="432000"/>
          </a:xfrm>
          <a:prstGeom prst="rect">
            <a:avLst/>
          </a:prstGeom>
          <a:solidFill>
            <a:srgbClr val="33996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>
                <a:solidFill>
                  <a:schemeClr val="tx2"/>
                </a:solidFill>
                <a:latin typeface="+mj-lt"/>
              </a:rPr>
              <a:t>Störer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D27E2886-B605-4AE1-8B6B-AE8C7E4763C8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9450732" y="2493000"/>
            <a:ext cx="720000" cy="432000"/>
          </a:xfrm>
          <a:prstGeom prst="rect">
            <a:avLst/>
          </a:prstGeom>
          <a:solidFill>
            <a:srgbClr val="00AEE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>
                <a:solidFill>
                  <a:schemeClr val="tx2"/>
                </a:solidFill>
                <a:latin typeface="+mj-lt"/>
              </a:rPr>
              <a:t>Störer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23D2310B-BEA8-4DC4-8026-E738F67B4D4F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8607303" y="2493000"/>
            <a:ext cx="720000" cy="432000"/>
          </a:xfrm>
          <a:prstGeom prst="rect">
            <a:avLst/>
          </a:prstGeom>
          <a:solidFill>
            <a:srgbClr val="005AA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>
                <a:solidFill>
                  <a:schemeClr val="tx2"/>
                </a:solidFill>
                <a:latin typeface="+mj-lt"/>
              </a:rPr>
              <a:t>Störer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D3F08BC-3D2E-4CBF-A283-2F68118B5F4C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7763874" y="2493000"/>
            <a:ext cx="720000" cy="432000"/>
          </a:xfrm>
          <a:prstGeom prst="rect">
            <a:avLst/>
          </a:prstGeom>
          <a:solidFill>
            <a:srgbClr val="9A258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>
                <a:solidFill>
                  <a:schemeClr val="tx2"/>
                </a:solidFill>
                <a:latin typeface="+mj-lt"/>
              </a:rPr>
              <a:t>Störer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5C547FF9-0446-47B1-BBE0-34D5F9E53F7B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6920445" y="2493000"/>
            <a:ext cx="720000" cy="432000"/>
          </a:xfrm>
          <a:prstGeom prst="rect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>
                <a:solidFill>
                  <a:schemeClr val="tx2"/>
                </a:solidFill>
                <a:latin typeface="+mj-lt"/>
              </a:rPr>
              <a:t>Störer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BC70A4EF-6360-47ED-8674-EB5DEDE06C53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6077016" y="2493000"/>
            <a:ext cx="720000" cy="432000"/>
          </a:xfrm>
          <a:prstGeom prst="rect">
            <a:avLst/>
          </a:prstGeom>
          <a:solidFill>
            <a:srgbClr val="FF99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>
                <a:solidFill>
                  <a:schemeClr val="tx2"/>
                </a:solidFill>
                <a:latin typeface="+mj-lt"/>
              </a:rPr>
              <a:t>Störer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D57D0A4A-1A71-4426-BED2-F12352AF7CDF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2850913" y="1629000"/>
            <a:ext cx="720000" cy="720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3A9662D-0DDC-4D3B-8ABB-1C3FBA2882A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7BCC2F0-30B8-43E7-8EEB-136F99CF7A1B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 bwMode="gray"/>
        <p:txBody>
          <a:bodyPr vert="horz"/>
          <a:lstStyle/>
          <a:p>
            <a:r>
              <a:rPr lang="de-DE" dirty="0"/>
              <a:t>Elemente für Baukasten (1/2)</a:t>
            </a:r>
          </a:p>
        </p:txBody>
      </p:sp>
      <p:pic>
        <p:nvPicPr>
          <p:cNvPr id="37" name="Picture 2">
            <a:extLst>
              <a:ext uri="{FF2B5EF4-FFF2-40B4-BE49-F238E27FC236}">
                <a16:creationId xmlns:a16="http://schemas.microsoft.com/office/drawing/2014/main" id="{543C736A-4D91-45D8-9A74-D29BADD8D696}"/>
              </a:ext>
            </a:extLst>
          </p:cNvPr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8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36949" y="1809000"/>
            <a:ext cx="2229513" cy="360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</p:pic>
      <p:sp>
        <p:nvSpPr>
          <p:cNvPr id="52" name="Rechteck 51">
            <a:extLst>
              <a:ext uri="{FF2B5EF4-FFF2-40B4-BE49-F238E27FC236}">
                <a16:creationId xmlns:a16="http://schemas.microsoft.com/office/drawing/2014/main" id="{0539B232-9EF5-4FAE-A9DE-67422B4DD816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4585587" y="4508943"/>
            <a:ext cx="2448000" cy="576057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52234817-7D4B-47BE-87E8-BA888FDD45FC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4585587" y="3717000"/>
            <a:ext cx="2448000" cy="576057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CFAB35B0-F78D-43C7-9AAE-6EA239F2CF82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5233587" y="2493000"/>
            <a:ext cx="720000" cy="432000"/>
          </a:xfrm>
          <a:prstGeom prst="rect">
            <a:avLst/>
          </a:prstGeom>
          <a:solidFill>
            <a:srgbClr val="FFCC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</a:rPr>
              <a:t>Störer</a:t>
            </a:r>
          </a:p>
        </p:txBody>
      </p: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6929669E-9BBE-48A4-AF20-4D2A46F62492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gray">
          <a:xfrm>
            <a:off x="8286449" y="4509120"/>
            <a:ext cx="864000" cy="0"/>
          </a:xfrm>
          <a:prstGeom prst="line">
            <a:avLst/>
          </a:prstGeom>
          <a:ln w="6350">
            <a:solidFill>
              <a:schemeClr val="tx1"/>
            </a:solidFill>
            <a:headEnd w="sm" len="sm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Geschweifte Klammer rechts 71">
            <a:extLst>
              <a:ext uri="{FF2B5EF4-FFF2-40B4-BE49-F238E27FC236}">
                <a16:creationId xmlns:a16="http://schemas.microsoft.com/office/drawing/2014/main" id="{918760CA-97D3-48C5-9158-D65514DE2795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7465587" y="4509120"/>
            <a:ext cx="144016" cy="576000"/>
          </a:xfrm>
          <a:prstGeom prst="rightBrace">
            <a:avLst>
              <a:gd name="adj1" fmla="val 50461"/>
              <a:gd name="adj2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dirty="0">
              <a:latin typeface="+mj-lt"/>
            </a:endParaRPr>
          </a:p>
        </p:txBody>
      </p: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B62380B6-1723-4EC8-8FD7-561E7F20CABF}"/>
              </a:ext>
            </a:extLst>
          </p:cNvPr>
          <p:cNvCxnSpPr>
            <a:cxnSpLocks/>
          </p:cNvCxnSpPr>
          <p:nvPr>
            <p:custDataLst>
              <p:tags r:id="rId30"/>
            </p:custDataLst>
          </p:nvPr>
        </p:nvCxnSpPr>
        <p:spPr bwMode="gray">
          <a:xfrm>
            <a:off x="9392297" y="4509120"/>
            <a:ext cx="864000" cy="0"/>
          </a:xfrm>
          <a:prstGeom prst="line">
            <a:avLst/>
          </a:prstGeom>
          <a:ln w="6350">
            <a:solidFill>
              <a:schemeClr val="tx1"/>
            </a:solidFill>
            <a:headEnd w="sm" len="sm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1" name="Grafik 100" descr="Nach rechts zeigender Finger, Handrücken mit einfarbiger Füllung">
            <a:extLst>
              <a:ext uri="{FF2B5EF4-FFF2-40B4-BE49-F238E27FC236}">
                <a16:creationId xmlns:a16="http://schemas.microsoft.com/office/drawing/2014/main" id="{04CD2AB1-BAAE-4E3D-85EA-E9CBE286064D}"/>
              </a:ext>
            </a:extLst>
          </p:cNvPr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86">
            <a:extLst>
              <a:ext uri="{96DAC541-7B7A-43D3-8B79-37D633B846F1}">
                <asvg:svgBlip xmlns:asvg="http://schemas.microsoft.com/office/drawing/2016/SVG/main" r:embed="rId87"/>
              </a:ext>
            </a:extLst>
          </a:blip>
          <a:stretch>
            <a:fillRect/>
          </a:stretch>
        </p:blipFill>
        <p:spPr bwMode="gray">
          <a:xfrm rot="16200000">
            <a:off x="7681587" y="4509120"/>
            <a:ext cx="576000" cy="576000"/>
          </a:xfrm>
          <a:prstGeom prst="rect">
            <a:avLst/>
          </a:prstGeom>
        </p:spPr>
      </p:pic>
      <p:pic>
        <p:nvPicPr>
          <p:cNvPr id="103" name="Grafik 102" descr="Cursor mit einfarbiger Füllung">
            <a:extLst>
              <a:ext uri="{FF2B5EF4-FFF2-40B4-BE49-F238E27FC236}">
                <a16:creationId xmlns:a16="http://schemas.microsoft.com/office/drawing/2014/main" id="{444B9151-60F5-44B6-BE9E-57723F6F30E2}"/>
              </a:ext>
            </a:extLst>
          </p:cNvPr>
          <p:cNvPicPr>
            <a:picLocks noChangeAspect="1"/>
          </p:cNvPicPr>
          <p:nvPr>
            <p:custDataLst>
              <p:tags r:id="rId32"/>
            </p:custDataLst>
          </p:nvPr>
        </p:nvPicPr>
        <p:blipFill>
          <a:blip r:embed="rId88">
            <a:extLst>
              <a:ext uri="{96DAC541-7B7A-43D3-8B79-37D633B846F1}">
                <asvg:svgBlip xmlns:asvg="http://schemas.microsoft.com/office/drawing/2016/SVG/main" r:embed="rId89"/>
              </a:ext>
            </a:extLst>
          </a:blip>
          <a:stretch>
            <a:fillRect/>
          </a:stretch>
        </p:blipFill>
        <p:spPr bwMode="gray">
          <a:xfrm>
            <a:off x="8329875" y="4617196"/>
            <a:ext cx="576000" cy="576000"/>
          </a:xfrm>
          <a:prstGeom prst="rect">
            <a:avLst/>
          </a:prstGeom>
        </p:spPr>
      </p:pic>
      <p:sp>
        <p:nvSpPr>
          <p:cNvPr id="8" name="Eckige Klammer links 7">
            <a:extLst>
              <a:ext uri="{FF2B5EF4-FFF2-40B4-BE49-F238E27FC236}">
                <a16:creationId xmlns:a16="http://schemas.microsoft.com/office/drawing/2014/main" id="{95CD4C22-A28E-4E42-A1DA-53207D6A6F75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7249587" y="4509120"/>
            <a:ext cx="72000" cy="576000"/>
          </a:xfrm>
          <a:prstGeom prst="leftBracket">
            <a:avLst>
              <a:gd name="adj" fmla="val 106219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>
              <a:latin typeface="+mj-lt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FDF5257-C0C7-417D-AB42-165F43C41125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9121587" y="4725120"/>
            <a:ext cx="1153038" cy="36000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de-DE" sz="1600" dirty="0">
                <a:solidFill>
                  <a:schemeClr val="tx1"/>
                </a:solidFill>
                <a:latin typeface="+mj-lt"/>
                <a:hlinkClick r:id="rId90" action="ppaction://hlinkfile"/>
              </a:rPr>
              <a:t>Link</a:t>
            </a: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8" name="Oval 130">
            <a:extLst>
              <a:ext uri="{FF2B5EF4-FFF2-40B4-BE49-F238E27FC236}">
                <a16:creationId xmlns:a16="http://schemas.microsoft.com/office/drawing/2014/main" id="{16B4B961-B344-4983-95D8-20079841A8BF}"/>
              </a:ext>
            </a:extLst>
          </p:cNvPr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4585587" y="3176964"/>
            <a:ext cx="288000" cy="288000"/>
          </a:xfrm>
          <a:prstGeom prst="ellips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latin typeface="+mj-lt"/>
              <a:cs typeface="Arial" pitchFamily="34" charset="0"/>
            </a:endParaRPr>
          </a:p>
        </p:txBody>
      </p:sp>
      <p:sp>
        <p:nvSpPr>
          <p:cNvPr id="79" name="Oval 140">
            <a:extLst>
              <a:ext uri="{FF2B5EF4-FFF2-40B4-BE49-F238E27FC236}">
                <a16:creationId xmlns:a16="http://schemas.microsoft.com/office/drawing/2014/main" id="{E5B10BCC-B8E4-4894-998B-37D02046939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826327" y="3176964"/>
            <a:ext cx="288000" cy="288000"/>
          </a:xfrm>
          <a:prstGeom prst="ellipse">
            <a:avLst/>
          </a:prstGeom>
          <a:solidFill>
            <a:schemeClr val="tx1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latin typeface="+mj-lt"/>
              <a:cs typeface="Arial" pitchFamily="34" charset="0"/>
            </a:endParaRPr>
          </a:p>
        </p:txBody>
      </p:sp>
      <p:grpSp>
        <p:nvGrpSpPr>
          <p:cNvPr id="80" name="Group 134">
            <a:extLst>
              <a:ext uri="{FF2B5EF4-FFF2-40B4-BE49-F238E27FC236}">
                <a16:creationId xmlns:a16="http://schemas.microsoft.com/office/drawing/2014/main" id="{8EF17BE8-636C-4895-875F-5E7457D030C0}"/>
              </a:ext>
            </a:extLst>
          </p:cNvPr>
          <p:cNvGrpSpPr>
            <a:grpSpLocks/>
          </p:cNvGrpSpPr>
          <p:nvPr/>
        </p:nvGrpSpPr>
        <p:grpSpPr bwMode="gray">
          <a:xfrm>
            <a:off x="5705957" y="3176964"/>
            <a:ext cx="288000" cy="288000"/>
            <a:chOff x="1564" y="3249"/>
            <a:chExt cx="273" cy="272"/>
          </a:xfrm>
          <a:solidFill>
            <a:schemeClr val="tx1"/>
          </a:solidFill>
        </p:grpSpPr>
        <p:sp>
          <p:nvSpPr>
            <p:cNvPr id="81" name="Oval 135">
              <a:extLst>
                <a:ext uri="{FF2B5EF4-FFF2-40B4-BE49-F238E27FC236}">
                  <a16:creationId xmlns:a16="http://schemas.microsoft.com/office/drawing/2014/main" id="{DB64D4A6-A117-4104-A717-7B38398FC6D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64" y="3249"/>
              <a:ext cx="272" cy="272"/>
            </a:xfrm>
            <a:prstGeom prst="ellipse">
              <a:avLst/>
            </a:prstGeom>
            <a:noFill/>
            <a:ln w="6350" algn="ctr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latin typeface="+mj-lt"/>
                <a:cs typeface="Arial" pitchFamily="34" charset="0"/>
              </a:endParaRPr>
            </a:p>
          </p:txBody>
        </p:sp>
        <p:sp>
          <p:nvSpPr>
            <p:cNvPr id="82" name="Arc 136">
              <a:extLst>
                <a:ext uri="{FF2B5EF4-FFF2-40B4-BE49-F238E27FC236}">
                  <a16:creationId xmlns:a16="http://schemas.microsoft.com/office/drawing/2014/main" id="{D7D3F91A-EF17-4371-8FFD-4D83EC1DCE5F}"/>
                </a:ext>
              </a:extLst>
            </p:cNvPr>
            <p:cNvSpPr>
              <a:spLocks/>
            </p:cNvSpPr>
            <p:nvPr/>
          </p:nvSpPr>
          <p:spPr bwMode="gray">
            <a:xfrm>
              <a:off x="1700" y="3249"/>
              <a:ext cx="137" cy="272"/>
            </a:xfrm>
            <a:custGeom>
              <a:avLst/>
              <a:gdLst>
                <a:gd name="T0" fmla="*/ 0 w 21759"/>
                <a:gd name="T1" fmla="*/ 0 h 43200"/>
                <a:gd name="T2" fmla="*/ 0 w 21759"/>
                <a:gd name="T3" fmla="*/ 2 h 43200"/>
                <a:gd name="T4" fmla="*/ 0 w 21759"/>
                <a:gd name="T5" fmla="*/ 1 h 43200"/>
                <a:gd name="T6" fmla="*/ 0 60000 65536"/>
                <a:gd name="T7" fmla="*/ 0 60000 65536"/>
                <a:gd name="T8" fmla="*/ 0 60000 65536"/>
                <a:gd name="T9" fmla="*/ 0 w 21759"/>
                <a:gd name="T10" fmla="*/ 0 h 43200"/>
                <a:gd name="T11" fmla="*/ 21759 w 21759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759" h="43200" fill="none" extrusionOk="0">
                  <a:moveTo>
                    <a:pt x="158" y="0"/>
                  </a:moveTo>
                  <a:cubicBezTo>
                    <a:pt x="12088" y="0"/>
                    <a:pt x="21759" y="9670"/>
                    <a:pt x="21759" y="21600"/>
                  </a:cubicBezTo>
                  <a:cubicBezTo>
                    <a:pt x="21759" y="33529"/>
                    <a:pt x="12088" y="43200"/>
                    <a:pt x="159" y="43200"/>
                  </a:cubicBezTo>
                  <a:cubicBezTo>
                    <a:pt x="105" y="43200"/>
                    <a:pt x="52" y="43199"/>
                    <a:pt x="-1" y="43199"/>
                  </a:cubicBezTo>
                </a:path>
                <a:path w="21759" h="43200" stroke="0" extrusionOk="0">
                  <a:moveTo>
                    <a:pt x="158" y="0"/>
                  </a:moveTo>
                  <a:cubicBezTo>
                    <a:pt x="12088" y="0"/>
                    <a:pt x="21759" y="9670"/>
                    <a:pt x="21759" y="21600"/>
                  </a:cubicBezTo>
                  <a:cubicBezTo>
                    <a:pt x="21759" y="33529"/>
                    <a:pt x="12088" y="43200"/>
                    <a:pt x="159" y="43200"/>
                  </a:cubicBezTo>
                  <a:cubicBezTo>
                    <a:pt x="105" y="43200"/>
                    <a:pt x="52" y="43199"/>
                    <a:pt x="-1" y="43199"/>
                  </a:cubicBezTo>
                  <a:lnTo>
                    <a:pt x="159" y="21600"/>
                  </a:lnTo>
                  <a:close/>
                </a:path>
              </a:pathLst>
            </a:cu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+mj-lt"/>
              </a:endParaRPr>
            </a:p>
          </p:txBody>
        </p:sp>
      </p:grpSp>
      <p:grpSp>
        <p:nvGrpSpPr>
          <p:cNvPr id="83" name="Group 131">
            <a:extLst>
              <a:ext uri="{FF2B5EF4-FFF2-40B4-BE49-F238E27FC236}">
                <a16:creationId xmlns:a16="http://schemas.microsoft.com/office/drawing/2014/main" id="{F9A752D2-575D-4F94-8ACF-5251AE4F0CC6}"/>
              </a:ext>
            </a:extLst>
          </p:cNvPr>
          <p:cNvGrpSpPr>
            <a:grpSpLocks/>
          </p:cNvGrpSpPr>
          <p:nvPr/>
        </p:nvGrpSpPr>
        <p:grpSpPr bwMode="gray">
          <a:xfrm>
            <a:off x="5145772" y="3176964"/>
            <a:ext cx="288000" cy="288000"/>
            <a:chOff x="1156" y="3249"/>
            <a:chExt cx="272" cy="272"/>
          </a:xfrm>
          <a:solidFill>
            <a:schemeClr val="tx1"/>
          </a:solidFill>
        </p:grpSpPr>
        <p:sp>
          <p:nvSpPr>
            <p:cNvPr id="84" name="Oval 132">
              <a:extLst>
                <a:ext uri="{FF2B5EF4-FFF2-40B4-BE49-F238E27FC236}">
                  <a16:creationId xmlns:a16="http://schemas.microsoft.com/office/drawing/2014/main" id="{1AE0C485-01E2-4200-A927-AA532BAFC3C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56" y="3249"/>
              <a:ext cx="272" cy="272"/>
            </a:xfrm>
            <a:prstGeom prst="ellipse">
              <a:avLst/>
            </a:prstGeom>
            <a:noFill/>
            <a:ln w="6350" algn="ctr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latin typeface="+mj-lt"/>
                <a:cs typeface="Arial" pitchFamily="34" charset="0"/>
              </a:endParaRPr>
            </a:p>
          </p:txBody>
        </p:sp>
        <p:sp>
          <p:nvSpPr>
            <p:cNvPr id="85" name="Arc 133">
              <a:extLst>
                <a:ext uri="{FF2B5EF4-FFF2-40B4-BE49-F238E27FC236}">
                  <a16:creationId xmlns:a16="http://schemas.microsoft.com/office/drawing/2014/main" id="{128A8805-8DD7-42F7-B428-FE18722EBB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292" y="3249"/>
              <a:ext cx="136" cy="136"/>
            </a:xfrm>
            <a:custGeom>
              <a:avLst/>
              <a:gdLst>
                <a:gd name="T0" fmla="*/ 0 w 21600"/>
                <a:gd name="T1" fmla="*/ 0 h 21600"/>
                <a:gd name="T2" fmla="*/ 1 w 21600"/>
                <a:gd name="T3" fmla="*/ 1 h 21600"/>
                <a:gd name="T4" fmla="*/ 0 w 21600"/>
                <a:gd name="T5" fmla="*/ 1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+mj-lt"/>
              </a:endParaRPr>
            </a:p>
          </p:txBody>
        </p:sp>
      </p:grpSp>
      <p:grpSp>
        <p:nvGrpSpPr>
          <p:cNvPr id="86" name="Group 137">
            <a:extLst>
              <a:ext uri="{FF2B5EF4-FFF2-40B4-BE49-F238E27FC236}">
                <a16:creationId xmlns:a16="http://schemas.microsoft.com/office/drawing/2014/main" id="{3FD43DA4-F86E-4592-A549-B35C16B693DE}"/>
              </a:ext>
            </a:extLst>
          </p:cNvPr>
          <p:cNvGrpSpPr>
            <a:grpSpLocks/>
          </p:cNvGrpSpPr>
          <p:nvPr/>
        </p:nvGrpSpPr>
        <p:grpSpPr bwMode="gray">
          <a:xfrm>
            <a:off x="6266142" y="3176964"/>
            <a:ext cx="288000" cy="288000"/>
            <a:chOff x="1973" y="3249"/>
            <a:chExt cx="275" cy="272"/>
          </a:xfrm>
          <a:solidFill>
            <a:schemeClr val="tx1"/>
          </a:solidFill>
        </p:grpSpPr>
        <p:sp>
          <p:nvSpPr>
            <p:cNvPr id="87" name="Oval 138">
              <a:extLst>
                <a:ext uri="{FF2B5EF4-FFF2-40B4-BE49-F238E27FC236}">
                  <a16:creationId xmlns:a16="http://schemas.microsoft.com/office/drawing/2014/main" id="{954B102F-A33A-4D92-8EDE-CBDC2538DC8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73" y="3249"/>
              <a:ext cx="272" cy="272"/>
            </a:xfrm>
            <a:prstGeom prst="ellipse">
              <a:avLst/>
            </a:prstGeom>
            <a:noFill/>
            <a:ln w="6350" algn="ctr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latin typeface="+mj-lt"/>
                <a:cs typeface="Arial" pitchFamily="34" charset="0"/>
              </a:endParaRPr>
            </a:p>
          </p:txBody>
        </p:sp>
        <p:sp>
          <p:nvSpPr>
            <p:cNvPr id="88" name="Arc 139">
              <a:extLst>
                <a:ext uri="{FF2B5EF4-FFF2-40B4-BE49-F238E27FC236}">
                  <a16:creationId xmlns:a16="http://schemas.microsoft.com/office/drawing/2014/main" id="{1034F94C-E39C-483C-B5DD-91D186F411BF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6" y="3249"/>
              <a:ext cx="272" cy="272"/>
            </a:xfrm>
            <a:custGeom>
              <a:avLst/>
              <a:gdLst>
                <a:gd name="T0" fmla="*/ 1 w 43200"/>
                <a:gd name="T1" fmla="*/ 0 h 43200"/>
                <a:gd name="T2" fmla="*/ 0 w 43200"/>
                <a:gd name="T3" fmla="*/ 1 h 43200"/>
                <a:gd name="T4" fmla="*/ 1 w 43200"/>
                <a:gd name="T5" fmla="*/ 1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+mj-lt"/>
              </a:endParaRPr>
            </a:p>
          </p:txBody>
        </p:sp>
      </p:grpSp>
      <p:pic>
        <p:nvPicPr>
          <p:cNvPr id="89" name="Grafik 88">
            <a:extLst>
              <a:ext uri="{FF2B5EF4-FFF2-40B4-BE49-F238E27FC236}">
                <a16:creationId xmlns:a16="http://schemas.microsoft.com/office/drawing/2014/main" id="{6E7E1760-6C6B-4528-B59E-92580B56864A}"/>
              </a:ext>
            </a:extLst>
          </p:cNvPr>
          <p:cNvPicPr>
            <a:picLocks noChangeAspect="1"/>
          </p:cNvPicPr>
          <p:nvPr>
            <p:custDataLst>
              <p:tags r:id="rId36"/>
            </p:custDataLst>
          </p:nvPr>
        </p:nvPicPr>
        <p:blipFill>
          <a:blip r:embed="rId9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441587" y="1629000"/>
            <a:ext cx="569902" cy="720000"/>
          </a:xfrm>
          <a:prstGeom prst="rect">
            <a:avLst/>
          </a:prstGeom>
        </p:spPr>
      </p:pic>
      <p:sp>
        <p:nvSpPr>
          <p:cNvPr id="90" name="Oval 18">
            <a:extLst>
              <a:ext uri="{FF2B5EF4-FFF2-40B4-BE49-F238E27FC236}">
                <a16:creationId xmlns:a16="http://schemas.microsoft.com/office/drawing/2014/main" id="{23A34099-AA28-459D-B682-6938260B0495}"/>
              </a:ext>
            </a:extLst>
          </p:cNvPr>
          <p:cNvSpPr>
            <a:spLocks noChangeAspect="1"/>
          </p:cNvSpPr>
          <p:nvPr>
            <p:custDataLst>
              <p:tags r:id="rId37"/>
            </p:custDataLst>
          </p:nvPr>
        </p:nvSpPr>
        <p:spPr bwMode="gray">
          <a:xfrm>
            <a:off x="9062597" y="3110964"/>
            <a:ext cx="420000" cy="420000"/>
          </a:xfrm>
          <a:custGeom>
            <a:avLst/>
            <a:gdLst/>
            <a:ahLst/>
            <a:cxnLst/>
            <a:rect l="l" t="t" r="r" b="b"/>
            <a:pathLst>
              <a:path w="2758403" h="2758400">
                <a:moveTo>
                  <a:pt x="1932067" y="839566"/>
                </a:moveTo>
                <a:cubicBezTo>
                  <a:pt x="1971489" y="835171"/>
                  <a:pt x="2012589" y="845815"/>
                  <a:pt x="2046021" y="872540"/>
                </a:cubicBezTo>
                <a:cubicBezTo>
                  <a:pt x="2112885" y="925989"/>
                  <a:pt x="2123760" y="1023522"/>
                  <a:pt x="2070310" y="1090386"/>
                </a:cubicBezTo>
                <a:cubicBezTo>
                  <a:pt x="1829047" y="1392203"/>
                  <a:pt x="1587782" y="1694020"/>
                  <a:pt x="1346518" y="1995837"/>
                </a:cubicBezTo>
                <a:cubicBezTo>
                  <a:pt x="1293068" y="2062701"/>
                  <a:pt x="1195536" y="2073576"/>
                  <a:pt x="1128672" y="2020127"/>
                </a:cubicBezTo>
                <a:lnTo>
                  <a:pt x="1128674" y="2020126"/>
                </a:lnTo>
                <a:lnTo>
                  <a:pt x="1123590" y="2014057"/>
                </a:lnTo>
                <a:cubicBezTo>
                  <a:pt x="1117505" y="2013438"/>
                  <a:pt x="1112733" y="2010385"/>
                  <a:pt x="1108085" y="2007036"/>
                </a:cubicBezTo>
                <a:cubicBezTo>
                  <a:pt x="977952" y="1913266"/>
                  <a:pt x="847820" y="1819495"/>
                  <a:pt x="717686" y="1725725"/>
                </a:cubicBezTo>
                <a:cubicBezTo>
                  <a:pt x="648708" y="1676021"/>
                  <a:pt x="633082" y="1579811"/>
                  <a:pt x="682786" y="1510833"/>
                </a:cubicBezTo>
                <a:lnTo>
                  <a:pt x="682786" y="1510834"/>
                </a:lnTo>
                <a:cubicBezTo>
                  <a:pt x="732490" y="1441856"/>
                  <a:pt x="828701" y="1426230"/>
                  <a:pt x="897679" y="1475934"/>
                </a:cubicBezTo>
                <a:lnTo>
                  <a:pt x="1194364" y="1689716"/>
                </a:lnTo>
                <a:lnTo>
                  <a:pt x="1828175" y="896830"/>
                </a:lnTo>
                <a:cubicBezTo>
                  <a:pt x="1854899" y="863398"/>
                  <a:pt x="1892644" y="843963"/>
                  <a:pt x="1932067" y="839566"/>
                </a:cubicBezTo>
                <a:close/>
                <a:moveTo>
                  <a:pt x="1379201" y="263522"/>
                </a:moveTo>
                <a:cubicBezTo>
                  <a:pt x="763027" y="263522"/>
                  <a:pt x="263521" y="763027"/>
                  <a:pt x="263521" y="1379199"/>
                </a:cubicBezTo>
                <a:cubicBezTo>
                  <a:pt x="263521" y="1995371"/>
                  <a:pt x="763027" y="2494876"/>
                  <a:pt x="1379201" y="2494876"/>
                </a:cubicBezTo>
                <a:cubicBezTo>
                  <a:pt x="1995374" y="2494876"/>
                  <a:pt x="2494881" y="1995371"/>
                  <a:pt x="2494881" y="1379199"/>
                </a:cubicBezTo>
                <a:cubicBezTo>
                  <a:pt x="2494881" y="763027"/>
                  <a:pt x="1995374" y="263522"/>
                  <a:pt x="1379201" y="263522"/>
                </a:cubicBezTo>
                <a:close/>
                <a:moveTo>
                  <a:pt x="1379202" y="0"/>
                </a:moveTo>
                <a:cubicBezTo>
                  <a:pt x="2140914" y="0"/>
                  <a:pt x="2758403" y="617489"/>
                  <a:pt x="2758403" y="1379200"/>
                </a:cubicBezTo>
                <a:cubicBezTo>
                  <a:pt x="2758403" y="2140911"/>
                  <a:pt x="2140914" y="2758400"/>
                  <a:pt x="1379202" y="2758400"/>
                </a:cubicBezTo>
                <a:cubicBezTo>
                  <a:pt x="617490" y="2758400"/>
                  <a:pt x="0" y="2140911"/>
                  <a:pt x="0" y="1379200"/>
                </a:cubicBezTo>
                <a:cubicBezTo>
                  <a:pt x="0" y="617489"/>
                  <a:pt x="617490" y="0"/>
                  <a:pt x="1379202" y="0"/>
                </a:cubicBezTo>
                <a:close/>
              </a:path>
            </a:pathLst>
          </a:custGeom>
          <a:solidFill>
            <a:schemeClr val="bg2"/>
          </a:solidFill>
          <a:ln w="317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tx2"/>
              </a:solidFill>
            </a:endParaRPr>
          </a:p>
        </p:txBody>
      </p:sp>
      <p:sp>
        <p:nvSpPr>
          <p:cNvPr id="91" name="Freihandform 139">
            <a:extLst>
              <a:ext uri="{FF2B5EF4-FFF2-40B4-BE49-F238E27FC236}">
                <a16:creationId xmlns:a16="http://schemas.microsoft.com/office/drawing/2014/main" id="{BC4941CD-29C2-4D89-BB78-16BEF837A95A}"/>
              </a:ext>
            </a:extLst>
          </p:cNvPr>
          <p:cNvSpPr>
            <a:spLocks noChangeAspect="1"/>
          </p:cNvSpPr>
          <p:nvPr>
            <p:custDataLst>
              <p:tags r:id="rId38"/>
            </p:custDataLst>
          </p:nvPr>
        </p:nvSpPr>
        <p:spPr bwMode="gray">
          <a:xfrm>
            <a:off x="10235356" y="3105095"/>
            <a:ext cx="431738" cy="431738"/>
          </a:xfrm>
          <a:custGeom>
            <a:avLst/>
            <a:gdLst>
              <a:gd name="connsiteX0" fmla="*/ 841220 w 2092298"/>
              <a:gd name="connsiteY0" fmla="*/ 519535 h 2092294"/>
              <a:gd name="connsiteX1" fmla="*/ 919265 w 2092298"/>
              <a:gd name="connsiteY1" fmla="*/ 551806 h 2092294"/>
              <a:gd name="connsiteX2" fmla="*/ 1340615 w 2092298"/>
              <a:gd name="connsiteY2" fmla="*/ 973478 h 2092294"/>
              <a:gd name="connsiteX3" fmla="*/ 1373174 w 2092298"/>
              <a:gd name="connsiteY3" fmla="*/ 1050928 h 2092294"/>
              <a:gd name="connsiteX4" fmla="*/ 1340615 w 2092298"/>
              <a:gd name="connsiteY4" fmla="*/ 1129334 h 2092294"/>
              <a:gd name="connsiteX5" fmla="*/ 919265 w 2092298"/>
              <a:gd name="connsiteY5" fmla="*/ 1551006 h 2092294"/>
              <a:gd name="connsiteX6" fmla="*/ 840741 w 2092298"/>
              <a:gd name="connsiteY6" fmla="*/ 1583516 h 2092294"/>
              <a:gd name="connsiteX7" fmla="*/ 763174 w 2092298"/>
              <a:gd name="connsiteY7" fmla="*/ 1551006 h 2092294"/>
              <a:gd name="connsiteX8" fmla="*/ 763174 w 2092298"/>
              <a:gd name="connsiteY8" fmla="*/ 1394194 h 2092294"/>
              <a:gd name="connsiteX9" fmla="*/ 1106958 w 2092298"/>
              <a:gd name="connsiteY9" fmla="*/ 1050928 h 2092294"/>
              <a:gd name="connsiteX10" fmla="*/ 763174 w 2092298"/>
              <a:gd name="connsiteY10" fmla="*/ 707662 h 2092294"/>
              <a:gd name="connsiteX11" fmla="*/ 763174 w 2092298"/>
              <a:gd name="connsiteY11" fmla="*/ 551806 h 2092294"/>
              <a:gd name="connsiteX12" fmla="*/ 841220 w 2092298"/>
              <a:gd name="connsiteY12" fmla="*/ 519535 h 2092294"/>
              <a:gd name="connsiteX13" fmla="*/ 1046149 w 2092298"/>
              <a:gd name="connsiteY13" fmla="*/ 199886 h 2092294"/>
              <a:gd name="connsiteX14" fmla="*/ 199885 w 2092298"/>
              <a:gd name="connsiteY14" fmla="*/ 1046146 h 2092294"/>
              <a:gd name="connsiteX15" fmla="*/ 1046149 w 2092298"/>
              <a:gd name="connsiteY15" fmla="*/ 1892407 h 2092294"/>
              <a:gd name="connsiteX16" fmla="*/ 1892412 w 2092298"/>
              <a:gd name="connsiteY16" fmla="*/ 1046146 h 2092294"/>
              <a:gd name="connsiteX17" fmla="*/ 1046149 w 2092298"/>
              <a:gd name="connsiteY17" fmla="*/ 199886 h 2092294"/>
              <a:gd name="connsiteX18" fmla="*/ 1046149 w 2092298"/>
              <a:gd name="connsiteY18" fmla="*/ 0 h 2092294"/>
              <a:gd name="connsiteX19" fmla="*/ 2092298 w 2092298"/>
              <a:gd name="connsiteY19" fmla="*/ 1046147 h 2092294"/>
              <a:gd name="connsiteX20" fmla="*/ 1046149 w 2092298"/>
              <a:gd name="connsiteY20" fmla="*/ 2092294 h 2092294"/>
              <a:gd name="connsiteX21" fmla="*/ 0 w 2092298"/>
              <a:gd name="connsiteY21" fmla="*/ 1046147 h 2092294"/>
              <a:gd name="connsiteX22" fmla="*/ 1046149 w 2092298"/>
              <a:gd name="connsiteY22" fmla="*/ 0 h 2092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092298" h="2092294">
                <a:moveTo>
                  <a:pt x="841220" y="519535"/>
                </a:moveTo>
                <a:cubicBezTo>
                  <a:pt x="869470" y="519535"/>
                  <a:pt x="897719" y="530292"/>
                  <a:pt x="919265" y="551806"/>
                </a:cubicBezTo>
                <a:lnTo>
                  <a:pt x="1340615" y="973478"/>
                </a:lnTo>
                <a:cubicBezTo>
                  <a:pt x="1362640" y="994514"/>
                  <a:pt x="1373174" y="1023199"/>
                  <a:pt x="1373174" y="1050928"/>
                </a:cubicBezTo>
                <a:cubicBezTo>
                  <a:pt x="1373174" y="1079613"/>
                  <a:pt x="1362640" y="1108298"/>
                  <a:pt x="1340615" y="1129334"/>
                </a:cubicBezTo>
                <a:lnTo>
                  <a:pt x="919265" y="1551006"/>
                </a:lnTo>
                <a:cubicBezTo>
                  <a:pt x="897240" y="1572042"/>
                  <a:pt x="869470" y="1583516"/>
                  <a:pt x="840741" y="1583516"/>
                </a:cubicBezTo>
                <a:cubicBezTo>
                  <a:pt x="812970" y="1583516"/>
                  <a:pt x="784242" y="1572042"/>
                  <a:pt x="763174" y="1551006"/>
                </a:cubicBezTo>
                <a:cubicBezTo>
                  <a:pt x="719124" y="1507978"/>
                  <a:pt x="719124" y="1437222"/>
                  <a:pt x="763174" y="1394194"/>
                </a:cubicBezTo>
                <a:lnTo>
                  <a:pt x="1106958" y="1050928"/>
                </a:lnTo>
                <a:lnTo>
                  <a:pt x="763174" y="707662"/>
                </a:lnTo>
                <a:cubicBezTo>
                  <a:pt x="719124" y="664634"/>
                  <a:pt x="719124" y="594834"/>
                  <a:pt x="763174" y="551806"/>
                </a:cubicBezTo>
                <a:cubicBezTo>
                  <a:pt x="784721" y="530292"/>
                  <a:pt x="812970" y="519535"/>
                  <a:pt x="841220" y="519535"/>
                </a:cubicBezTo>
                <a:close/>
                <a:moveTo>
                  <a:pt x="1046149" y="199886"/>
                </a:moveTo>
                <a:cubicBezTo>
                  <a:pt x="578770" y="199886"/>
                  <a:pt x="199885" y="578769"/>
                  <a:pt x="199885" y="1046146"/>
                </a:cubicBezTo>
                <a:cubicBezTo>
                  <a:pt x="199885" y="1513524"/>
                  <a:pt x="578770" y="1892407"/>
                  <a:pt x="1046149" y="1892407"/>
                </a:cubicBezTo>
                <a:cubicBezTo>
                  <a:pt x="1513527" y="1892407"/>
                  <a:pt x="1892412" y="1513524"/>
                  <a:pt x="1892412" y="1046146"/>
                </a:cubicBezTo>
                <a:cubicBezTo>
                  <a:pt x="1892412" y="578769"/>
                  <a:pt x="1513527" y="199886"/>
                  <a:pt x="1046149" y="199886"/>
                </a:cubicBezTo>
                <a:close/>
                <a:moveTo>
                  <a:pt x="1046149" y="0"/>
                </a:moveTo>
                <a:cubicBezTo>
                  <a:pt x="1623921" y="0"/>
                  <a:pt x="2092298" y="468376"/>
                  <a:pt x="2092298" y="1046147"/>
                </a:cubicBezTo>
                <a:cubicBezTo>
                  <a:pt x="2092298" y="1623918"/>
                  <a:pt x="1623921" y="2092294"/>
                  <a:pt x="1046149" y="2092294"/>
                </a:cubicBezTo>
                <a:cubicBezTo>
                  <a:pt x="468377" y="2092294"/>
                  <a:pt x="0" y="1623918"/>
                  <a:pt x="0" y="1046147"/>
                </a:cubicBezTo>
                <a:cubicBezTo>
                  <a:pt x="0" y="468376"/>
                  <a:pt x="468377" y="0"/>
                  <a:pt x="1046149" y="0"/>
                </a:cubicBezTo>
                <a:close/>
              </a:path>
            </a:pathLst>
          </a:custGeom>
          <a:solidFill>
            <a:schemeClr val="bg2"/>
          </a:solidFill>
          <a:ln w="317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600" dirty="0">
              <a:solidFill>
                <a:schemeClr val="tx2"/>
              </a:solidFill>
            </a:endParaRPr>
          </a:p>
        </p:txBody>
      </p:sp>
      <p:sp>
        <p:nvSpPr>
          <p:cNvPr id="92" name="Freeform 7">
            <a:extLst>
              <a:ext uri="{FF2B5EF4-FFF2-40B4-BE49-F238E27FC236}">
                <a16:creationId xmlns:a16="http://schemas.microsoft.com/office/drawing/2014/main" id="{F620918B-7111-415A-91AB-E8BB51DBC7CA}"/>
              </a:ext>
            </a:extLst>
          </p:cNvPr>
          <p:cNvSpPr>
            <a:spLocks noChangeAspect="1"/>
          </p:cNvSpPr>
          <p:nvPr>
            <p:custDataLst>
              <p:tags r:id="rId39"/>
            </p:custDataLst>
          </p:nvPr>
        </p:nvSpPr>
        <p:spPr bwMode="gray">
          <a:xfrm>
            <a:off x="9792414" y="3206874"/>
            <a:ext cx="138863" cy="228181"/>
          </a:xfrm>
          <a:custGeom>
            <a:avLst/>
            <a:gdLst>
              <a:gd name="T0" fmla="*/ 648 w 682"/>
              <a:gd name="T1" fmla="*/ 649 h 1124"/>
              <a:gd name="T2" fmla="*/ 648 w 682"/>
              <a:gd name="T3" fmla="*/ 649 h 1124"/>
              <a:gd name="T4" fmla="*/ 682 w 682"/>
              <a:gd name="T5" fmla="*/ 567 h 1124"/>
              <a:gd name="T6" fmla="*/ 648 w 682"/>
              <a:gd name="T7" fmla="*/ 486 h 1124"/>
              <a:gd name="T8" fmla="*/ 648 w 682"/>
              <a:gd name="T9" fmla="*/ 486 h 1124"/>
              <a:gd name="T10" fmla="*/ 208 w 682"/>
              <a:gd name="T11" fmla="*/ 45 h 1124"/>
              <a:gd name="T12" fmla="*/ 44 w 682"/>
              <a:gd name="T13" fmla="*/ 45 h 1124"/>
              <a:gd name="T14" fmla="*/ 44 w 682"/>
              <a:gd name="T15" fmla="*/ 208 h 1124"/>
              <a:gd name="T16" fmla="*/ 403 w 682"/>
              <a:gd name="T17" fmla="*/ 567 h 1124"/>
              <a:gd name="T18" fmla="*/ 44 w 682"/>
              <a:gd name="T19" fmla="*/ 926 h 1124"/>
              <a:gd name="T20" fmla="*/ 44 w 682"/>
              <a:gd name="T21" fmla="*/ 1090 h 1124"/>
              <a:gd name="T22" fmla="*/ 126 w 682"/>
              <a:gd name="T23" fmla="*/ 1124 h 1124"/>
              <a:gd name="T24" fmla="*/ 208 w 682"/>
              <a:gd name="T25" fmla="*/ 1090 h 1124"/>
              <a:gd name="T26" fmla="*/ 648 w 682"/>
              <a:gd name="T27" fmla="*/ 649 h 1124"/>
              <a:gd name="T28" fmla="*/ 648 w 682"/>
              <a:gd name="T29" fmla="*/ 649 h 1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82" h="1124">
                <a:moveTo>
                  <a:pt x="648" y="649"/>
                </a:moveTo>
                <a:lnTo>
                  <a:pt x="648" y="649"/>
                </a:lnTo>
                <a:cubicBezTo>
                  <a:pt x="671" y="627"/>
                  <a:pt x="682" y="597"/>
                  <a:pt x="682" y="567"/>
                </a:cubicBezTo>
                <a:cubicBezTo>
                  <a:pt x="682" y="538"/>
                  <a:pt x="671" y="508"/>
                  <a:pt x="648" y="486"/>
                </a:cubicBezTo>
                <a:cubicBezTo>
                  <a:pt x="648" y="486"/>
                  <a:pt x="648" y="486"/>
                  <a:pt x="648" y="486"/>
                </a:cubicBezTo>
                <a:lnTo>
                  <a:pt x="208" y="45"/>
                </a:lnTo>
                <a:cubicBezTo>
                  <a:pt x="163" y="0"/>
                  <a:pt x="89" y="0"/>
                  <a:pt x="44" y="45"/>
                </a:cubicBezTo>
                <a:cubicBezTo>
                  <a:pt x="0" y="90"/>
                  <a:pt x="0" y="163"/>
                  <a:pt x="44" y="208"/>
                </a:cubicBezTo>
                <a:lnTo>
                  <a:pt x="403" y="567"/>
                </a:lnTo>
                <a:lnTo>
                  <a:pt x="44" y="926"/>
                </a:lnTo>
                <a:cubicBezTo>
                  <a:pt x="0" y="971"/>
                  <a:pt x="0" y="1045"/>
                  <a:pt x="44" y="1090"/>
                </a:cubicBezTo>
                <a:cubicBezTo>
                  <a:pt x="67" y="1112"/>
                  <a:pt x="96" y="1124"/>
                  <a:pt x="126" y="1124"/>
                </a:cubicBezTo>
                <a:cubicBezTo>
                  <a:pt x="156" y="1124"/>
                  <a:pt x="185" y="1112"/>
                  <a:pt x="208" y="1090"/>
                </a:cubicBezTo>
                <a:lnTo>
                  <a:pt x="648" y="649"/>
                </a:lnTo>
                <a:cubicBezTo>
                  <a:pt x="648" y="649"/>
                  <a:pt x="648" y="649"/>
                  <a:pt x="648" y="649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93" name="Freihandform 154">
            <a:extLst>
              <a:ext uri="{FF2B5EF4-FFF2-40B4-BE49-F238E27FC236}">
                <a16:creationId xmlns:a16="http://schemas.microsoft.com/office/drawing/2014/main" id="{F43FC66E-9D80-4DDF-A445-4234D9A3086A}"/>
              </a:ext>
            </a:extLst>
          </p:cNvPr>
          <p:cNvSpPr>
            <a:spLocks noChangeAspect="1"/>
          </p:cNvSpPr>
          <p:nvPr>
            <p:custDataLst>
              <p:tags r:id="rId40"/>
            </p:custDataLst>
          </p:nvPr>
        </p:nvSpPr>
        <p:spPr bwMode="gray">
          <a:xfrm>
            <a:off x="8550910" y="3220077"/>
            <a:ext cx="240878" cy="201775"/>
          </a:xfrm>
          <a:custGeom>
            <a:avLst/>
            <a:gdLst>
              <a:gd name="connsiteX0" fmla="*/ 969643 w 1100242"/>
              <a:gd name="connsiteY0" fmla="*/ 729 h 921943"/>
              <a:gd name="connsiteX1" fmla="*/ 1056079 w 1100242"/>
              <a:gd name="connsiteY1" fmla="*/ 25741 h 921943"/>
              <a:gd name="connsiteX2" fmla="*/ 1074503 w 1100242"/>
              <a:gd name="connsiteY2" fmla="*/ 190981 h 921943"/>
              <a:gd name="connsiteX3" fmla="*/ 525494 w 1100242"/>
              <a:gd name="connsiteY3" fmla="*/ 877781 h 921943"/>
              <a:gd name="connsiteX4" fmla="*/ 360254 w 1100242"/>
              <a:gd name="connsiteY4" fmla="*/ 896205 h 921943"/>
              <a:gd name="connsiteX5" fmla="*/ 360255 w 1100242"/>
              <a:gd name="connsiteY5" fmla="*/ 896205 h 921943"/>
              <a:gd name="connsiteX6" fmla="*/ 356399 w 1100242"/>
              <a:gd name="connsiteY6" fmla="*/ 891601 h 921943"/>
              <a:gd name="connsiteX7" fmla="*/ 344638 w 1100242"/>
              <a:gd name="connsiteY7" fmla="*/ 886276 h 921943"/>
              <a:gd name="connsiteX8" fmla="*/ 48514 w 1100242"/>
              <a:gd name="connsiteY8" fmla="*/ 672896 h 921943"/>
              <a:gd name="connsiteX9" fmla="*/ 22041 w 1100242"/>
              <a:gd name="connsiteY9" fmla="*/ 509897 h 921943"/>
              <a:gd name="connsiteX10" fmla="*/ 22041 w 1100242"/>
              <a:gd name="connsiteY10" fmla="*/ 509898 h 921943"/>
              <a:gd name="connsiteX11" fmla="*/ 185042 w 1100242"/>
              <a:gd name="connsiteY11" fmla="*/ 483426 h 921943"/>
              <a:gd name="connsiteX12" fmla="*/ 410082 w 1100242"/>
              <a:gd name="connsiteY12" fmla="*/ 645583 h 921943"/>
              <a:gd name="connsiteX13" fmla="*/ 890839 w 1100242"/>
              <a:gd name="connsiteY13" fmla="*/ 44165 h 921943"/>
              <a:gd name="connsiteX14" fmla="*/ 969643 w 1100242"/>
              <a:gd name="connsiteY14" fmla="*/ 729 h 921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00242" h="921943">
                <a:moveTo>
                  <a:pt x="969643" y="729"/>
                </a:moveTo>
                <a:cubicBezTo>
                  <a:pt x="999546" y="-2604"/>
                  <a:pt x="1030721" y="5469"/>
                  <a:pt x="1056079" y="25741"/>
                </a:cubicBezTo>
                <a:cubicBezTo>
                  <a:pt x="1106797" y="66283"/>
                  <a:pt x="1115046" y="140263"/>
                  <a:pt x="1074503" y="190981"/>
                </a:cubicBezTo>
                <a:cubicBezTo>
                  <a:pt x="891501" y="419914"/>
                  <a:pt x="708497" y="648848"/>
                  <a:pt x="525494" y="877781"/>
                </a:cubicBezTo>
                <a:cubicBezTo>
                  <a:pt x="484951" y="928498"/>
                  <a:pt x="410971" y="936747"/>
                  <a:pt x="360254" y="896205"/>
                </a:cubicBezTo>
                <a:lnTo>
                  <a:pt x="360255" y="896205"/>
                </a:lnTo>
                <a:lnTo>
                  <a:pt x="356399" y="891601"/>
                </a:lnTo>
                <a:cubicBezTo>
                  <a:pt x="351783" y="891132"/>
                  <a:pt x="348164" y="888816"/>
                  <a:pt x="344638" y="886276"/>
                </a:cubicBezTo>
                <a:cubicBezTo>
                  <a:pt x="245930" y="815149"/>
                  <a:pt x="147223" y="744023"/>
                  <a:pt x="48514" y="672896"/>
                </a:cubicBezTo>
                <a:cubicBezTo>
                  <a:pt x="-3807" y="635195"/>
                  <a:pt x="-15660" y="562218"/>
                  <a:pt x="22041" y="509897"/>
                </a:cubicBezTo>
                <a:lnTo>
                  <a:pt x="22041" y="509898"/>
                </a:lnTo>
                <a:cubicBezTo>
                  <a:pt x="59743" y="457577"/>
                  <a:pt x="132721" y="445724"/>
                  <a:pt x="185042" y="483426"/>
                </a:cubicBezTo>
                <a:lnTo>
                  <a:pt x="410082" y="645583"/>
                </a:lnTo>
                <a:lnTo>
                  <a:pt x="890839" y="44165"/>
                </a:lnTo>
                <a:cubicBezTo>
                  <a:pt x="911110" y="18806"/>
                  <a:pt x="939740" y="4065"/>
                  <a:pt x="969643" y="729"/>
                </a:cubicBezTo>
                <a:close/>
              </a:path>
            </a:pathLst>
          </a:custGeom>
          <a:solidFill>
            <a:schemeClr val="bg2"/>
          </a:solidFill>
          <a:ln w="317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600" dirty="0">
              <a:solidFill>
                <a:schemeClr val="tx2"/>
              </a:solidFill>
            </a:endParaRPr>
          </a:p>
        </p:txBody>
      </p:sp>
      <p:sp>
        <p:nvSpPr>
          <p:cNvPr id="95" name="Freihandform 79">
            <a:extLst>
              <a:ext uri="{FF2B5EF4-FFF2-40B4-BE49-F238E27FC236}">
                <a16:creationId xmlns:a16="http://schemas.microsoft.com/office/drawing/2014/main" id="{AB0F3005-26EA-4427-A3A0-96D1CF26CE66}"/>
              </a:ext>
            </a:extLst>
          </p:cNvPr>
          <p:cNvSpPr>
            <a:spLocks noChangeAspect="1"/>
          </p:cNvSpPr>
          <p:nvPr>
            <p:custDataLst>
              <p:tags r:id="rId41"/>
            </p:custDataLst>
          </p:nvPr>
        </p:nvSpPr>
        <p:spPr bwMode="gray">
          <a:xfrm>
            <a:off x="11426226" y="3104964"/>
            <a:ext cx="432001" cy="432000"/>
          </a:xfrm>
          <a:custGeom>
            <a:avLst/>
            <a:gdLst>
              <a:gd name="connsiteX0" fmla="*/ 1046056 w 2092298"/>
              <a:gd name="connsiteY0" fmla="*/ 408130 h 2092294"/>
              <a:gd name="connsiteX1" fmla="*/ 1092009 w 2092298"/>
              <a:gd name="connsiteY1" fmla="*/ 417408 h 2092294"/>
              <a:gd name="connsiteX2" fmla="*/ 1164115 w 2092298"/>
              <a:gd name="connsiteY2" fmla="*/ 526190 h 2092294"/>
              <a:gd name="connsiteX3" fmla="*/ 1164115 w 2092298"/>
              <a:gd name="connsiteY3" fmla="*/ 928213 h 2092294"/>
              <a:gd name="connsiteX4" fmla="*/ 1566139 w 2092298"/>
              <a:gd name="connsiteY4" fmla="*/ 928213 h 2092294"/>
              <a:gd name="connsiteX5" fmla="*/ 1684199 w 2092298"/>
              <a:gd name="connsiteY5" fmla="*/ 1046273 h 2092294"/>
              <a:gd name="connsiteX6" fmla="*/ 1684198 w 2092298"/>
              <a:gd name="connsiteY6" fmla="*/ 1046273 h 2092294"/>
              <a:gd name="connsiteX7" fmla="*/ 1566138 w 2092298"/>
              <a:gd name="connsiteY7" fmla="*/ 1164333 h 2092294"/>
              <a:gd name="connsiteX8" fmla="*/ 1164115 w 2092298"/>
              <a:gd name="connsiteY8" fmla="*/ 1164333 h 2092294"/>
              <a:gd name="connsiteX9" fmla="*/ 1164115 w 2092298"/>
              <a:gd name="connsiteY9" fmla="*/ 1566356 h 2092294"/>
              <a:gd name="connsiteX10" fmla="*/ 1046055 w 2092298"/>
              <a:gd name="connsiteY10" fmla="*/ 1684416 h 2092294"/>
              <a:gd name="connsiteX11" fmla="*/ 1046055 w 2092298"/>
              <a:gd name="connsiteY11" fmla="*/ 1684415 h 2092294"/>
              <a:gd name="connsiteX12" fmla="*/ 927995 w 2092298"/>
              <a:gd name="connsiteY12" fmla="*/ 1566355 h 2092294"/>
              <a:gd name="connsiteX13" fmla="*/ 927995 w 2092298"/>
              <a:gd name="connsiteY13" fmla="*/ 1164332 h 2092294"/>
              <a:gd name="connsiteX14" fmla="*/ 525973 w 2092298"/>
              <a:gd name="connsiteY14" fmla="*/ 1164332 h 2092294"/>
              <a:gd name="connsiteX15" fmla="*/ 417191 w 2092298"/>
              <a:gd name="connsiteY15" fmla="*/ 1092226 h 2092294"/>
              <a:gd name="connsiteX16" fmla="*/ 407913 w 2092298"/>
              <a:gd name="connsiteY16" fmla="*/ 1046273 h 2092294"/>
              <a:gd name="connsiteX17" fmla="*/ 417191 w 2092298"/>
              <a:gd name="connsiteY17" fmla="*/ 1000319 h 2092294"/>
              <a:gd name="connsiteX18" fmla="*/ 525973 w 2092298"/>
              <a:gd name="connsiteY18" fmla="*/ 928213 h 2092294"/>
              <a:gd name="connsiteX19" fmla="*/ 927996 w 2092298"/>
              <a:gd name="connsiteY19" fmla="*/ 928213 h 2092294"/>
              <a:gd name="connsiteX20" fmla="*/ 927996 w 2092298"/>
              <a:gd name="connsiteY20" fmla="*/ 526190 h 2092294"/>
              <a:gd name="connsiteX21" fmla="*/ 1000102 w 2092298"/>
              <a:gd name="connsiteY21" fmla="*/ 417408 h 2092294"/>
              <a:gd name="connsiteX22" fmla="*/ 1046149 w 2092298"/>
              <a:gd name="connsiteY22" fmla="*/ 199886 h 2092294"/>
              <a:gd name="connsiteX23" fmla="*/ 199885 w 2092298"/>
              <a:gd name="connsiteY23" fmla="*/ 1046146 h 2092294"/>
              <a:gd name="connsiteX24" fmla="*/ 1046149 w 2092298"/>
              <a:gd name="connsiteY24" fmla="*/ 1892407 h 2092294"/>
              <a:gd name="connsiteX25" fmla="*/ 1892412 w 2092298"/>
              <a:gd name="connsiteY25" fmla="*/ 1046146 h 2092294"/>
              <a:gd name="connsiteX26" fmla="*/ 1046149 w 2092298"/>
              <a:gd name="connsiteY26" fmla="*/ 199886 h 2092294"/>
              <a:gd name="connsiteX27" fmla="*/ 1046149 w 2092298"/>
              <a:gd name="connsiteY27" fmla="*/ 0 h 2092294"/>
              <a:gd name="connsiteX28" fmla="*/ 2092298 w 2092298"/>
              <a:gd name="connsiteY28" fmla="*/ 1046147 h 2092294"/>
              <a:gd name="connsiteX29" fmla="*/ 1046149 w 2092298"/>
              <a:gd name="connsiteY29" fmla="*/ 2092294 h 2092294"/>
              <a:gd name="connsiteX30" fmla="*/ 0 w 2092298"/>
              <a:gd name="connsiteY30" fmla="*/ 1046147 h 2092294"/>
              <a:gd name="connsiteX31" fmla="*/ 1046149 w 2092298"/>
              <a:gd name="connsiteY31" fmla="*/ 0 h 2092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092298" h="2092294">
                <a:moveTo>
                  <a:pt x="1046056" y="408130"/>
                </a:moveTo>
                <a:lnTo>
                  <a:pt x="1092009" y="417408"/>
                </a:lnTo>
                <a:cubicBezTo>
                  <a:pt x="1134383" y="435330"/>
                  <a:pt x="1164115" y="477288"/>
                  <a:pt x="1164115" y="526190"/>
                </a:cubicBezTo>
                <a:lnTo>
                  <a:pt x="1164115" y="928213"/>
                </a:lnTo>
                <a:lnTo>
                  <a:pt x="1566139" y="928213"/>
                </a:lnTo>
                <a:cubicBezTo>
                  <a:pt x="1631342" y="928213"/>
                  <a:pt x="1684199" y="981070"/>
                  <a:pt x="1684199" y="1046273"/>
                </a:cubicBezTo>
                <a:lnTo>
                  <a:pt x="1684198" y="1046273"/>
                </a:lnTo>
                <a:cubicBezTo>
                  <a:pt x="1684198" y="1111476"/>
                  <a:pt x="1631341" y="1164333"/>
                  <a:pt x="1566138" y="1164333"/>
                </a:cubicBezTo>
                <a:lnTo>
                  <a:pt x="1164115" y="1164333"/>
                </a:lnTo>
                <a:lnTo>
                  <a:pt x="1164115" y="1566356"/>
                </a:lnTo>
                <a:cubicBezTo>
                  <a:pt x="1164115" y="1631559"/>
                  <a:pt x="1111258" y="1684416"/>
                  <a:pt x="1046055" y="1684416"/>
                </a:cubicBezTo>
                <a:lnTo>
                  <a:pt x="1046055" y="1684415"/>
                </a:lnTo>
                <a:cubicBezTo>
                  <a:pt x="980852" y="1684415"/>
                  <a:pt x="927995" y="1631558"/>
                  <a:pt x="927995" y="1566355"/>
                </a:cubicBezTo>
                <a:lnTo>
                  <a:pt x="927995" y="1164332"/>
                </a:lnTo>
                <a:lnTo>
                  <a:pt x="525973" y="1164332"/>
                </a:lnTo>
                <a:cubicBezTo>
                  <a:pt x="477071" y="1164332"/>
                  <a:pt x="435113" y="1134600"/>
                  <a:pt x="417191" y="1092226"/>
                </a:cubicBezTo>
                <a:lnTo>
                  <a:pt x="407913" y="1046273"/>
                </a:lnTo>
                <a:lnTo>
                  <a:pt x="417191" y="1000319"/>
                </a:lnTo>
                <a:cubicBezTo>
                  <a:pt x="435113" y="957945"/>
                  <a:pt x="477071" y="928213"/>
                  <a:pt x="525973" y="928213"/>
                </a:cubicBezTo>
                <a:lnTo>
                  <a:pt x="927996" y="928213"/>
                </a:lnTo>
                <a:lnTo>
                  <a:pt x="927996" y="526190"/>
                </a:lnTo>
                <a:cubicBezTo>
                  <a:pt x="927996" y="477288"/>
                  <a:pt x="957728" y="435330"/>
                  <a:pt x="1000102" y="417408"/>
                </a:cubicBezTo>
                <a:close/>
                <a:moveTo>
                  <a:pt x="1046149" y="199886"/>
                </a:moveTo>
                <a:cubicBezTo>
                  <a:pt x="578770" y="199886"/>
                  <a:pt x="199885" y="578769"/>
                  <a:pt x="199885" y="1046146"/>
                </a:cubicBezTo>
                <a:cubicBezTo>
                  <a:pt x="199885" y="1513524"/>
                  <a:pt x="578770" y="1892407"/>
                  <a:pt x="1046149" y="1892407"/>
                </a:cubicBezTo>
                <a:cubicBezTo>
                  <a:pt x="1513527" y="1892407"/>
                  <a:pt x="1892412" y="1513524"/>
                  <a:pt x="1892412" y="1046146"/>
                </a:cubicBezTo>
                <a:cubicBezTo>
                  <a:pt x="1892412" y="578769"/>
                  <a:pt x="1513527" y="199886"/>
                  <a:pt x="1046149" y="199886"/>
                </a:cubicBezTo>
                <a:close/>
                <a:moveTo>
                  <a:pt x="1046149" y="0"/>
                </a:moveTo>
                <a:cubicBezTo>
                  <a:pt x="1623921" y="0"/>
                  <a:pt x="2092298" y="468376"/>
                  <a:pt x="2092298" y="1046147"/>
                </a:cubicBezTo>
                <a:cubicBezTo>
                  <a:pt x="2092298" y="1623918"/>
                  <a:pt x="1623921" y="2092294"/>
                  <a:pt x="1046149" y="2092294"/>
                </a:cubicBezTo>
                <a:cubicBezTo>
                  <a:pt x="468377" y="2092294"/>
                  <a:pt x="0" y="1623918"/>
                  <a:pt x="0" y="1046147"/>
                </a:cubicBezTo>
                <a:cubicBezTo>
                  <a:pt x="0" y="468376"/>
                  <a:pt x="468377" y="0"/>
                  <a:pt x="1046149" y="0"/>
                </a:cubicBezTo>
                <a:close/>
              </a:path>
            </a:pathLst>
          </a:custGeom>
          <a:solidFill>
            <a:schemeClr val="bg2"/>
          </a:solidFill>
          <a:ln w="317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600" dirty="0">
              <a:solidFill>
                <a:schemeClr val="tx2"/>
              </a:solidFill>
            </a:endParaRPr>
          </a:p>
        </p:txBody>
      </p:sp>
      <p:sp>
        <p:nvSpPr>
          <p:cNvPr id="96" name="Freihandform 80">
            <a:extLst>
              <a:ext uri="{FF2B5EF4-FFF2-40B4-BE49-F238E27FC236}">
                <a16:creationId xmlns:a16="http://schemas.microsoft.com/office/drawing/2014/main" id="{43518B21-4A30-4BAA-8675-70C0C563C8FE}"/>
              </a:ext>
            </a:extLst>
          </p:cNvPr>
          <p:cNvSpPr>
            <a:spLocks noChangeAspect="1"/>
          </p:cNvSpPr>
          <p:nvPr>
            <p:custDataLst>
              <p:tags r:id="rId42"/>
            </p:custDataLst>
          </p:nvPr>
        </p:nvSpPr>
        <p:spPr bwMode="gray">
          <a:xfrm>
            <a:off x="7876244" y="3789028"/>
            <a:ext cx="432001" cy="432000"/>
          </a:xfrm>
          <a:custGeom>
            <a:avLst/>
            <a:gdLst>
              <a:gd name="connsiteX0" fmla="*/ 422500 w 2092298"/>
              <a:gd name="connsiteY0" fmla="*/ 1061360 h 2092294"/>
              <a:gd name="connsiteX1" fmla="*/ 422500 w 2092298"/>
              <a:gd name="connsiteY1" fmla="*/ 1061361 h 2092294"/>
              <a:gd name="connsiteX2" fmla="*/ 422500 w 2092298"/>
              <a:gd name="connsiteY2" fmla="*/ 1061361 h 2092294"/>
              <a:gd name="connsiteX3" fmla="*/ 540560 w 2092298"/>
              <a:gd name="connsiteY3" fmla="*/ 943301 h 2092294"/>
              <a:gd name="connsiteX4" fmla="*/ 1580726 w 2092298"/>
              <a:gd name="connsiteY4" fmla="*/ 943301 h 2092294"/>
              <a:gd name="connsiteX5" fmla="*/ 1698786 w 2092298"/>
              <a:gd name="connsiteY5" fmla="*/ 1061361 h 2092294"/>
              <a:gd name="connsiteX6" fmla="*/ 1698785 w 2092298"/>
              <a:gd name="connsiteY6" fmla="*/ 1061361 h 2092294"/>
              <a:gd name="connsiteX7" fmla="*/ 1580725 w 2092298"/>
              <a:gd name="connsiteY7" fmla="*/ 1179421 h 2092294"/>
              <a:gd name="connsiteX8" fmla="*/ 540560 w 2092298"/>
              <a:gd name="connsiteY8" fmla="*/ 1179420 h 2092294"/>
              <a:gd name="connsiteX9" fmla="*/ 431778 w 2092298"/>
              <a:gd name="connsiteY9" fmla="*/ 1107315 h 2092294"/>
              <a:gd name="connsiteX10" fmla="*/ 422500 w 2092298"/>
              <a:gd name="connsiteY10" fmla="*/ 1061361 h 2092294"/>
              <a:gd name="connsiteX11" fmla="*/ 431778 w 2092298"/>
              <a:gd name="connsiteY11" fmla="*/ 1015407 h 2092294"/>
              <a:gd name="connsiteX12" fmla="*/ 540560 w 2092298"/>
              <a:gd name="connsiteY12" fmla="*/ 943301 h 2092294"/>
              <a:gd name="connsiteX13" fmla="*/ 1046149 w 2092298"/>
              <a:gd name="connsiteY13" fmla="*/ 199886 h 2092294"/>
              <a:gd name="connsiteX14" fmla="*/ 199885 w 2092298"/>
              <a:gd name="connsiteY14" fmla="*/ 1046146 h 2092294"/>
              <a:gd name="connsiteX15" fmla="*/ 1046149 w 2092298"/>
              <a:gd name="connsiteY15" fmla="*/ 1892407 h 2092294"/>
              <a:gd name="connsiteX16" fmla="*/ 1892412 w 2092298"/>
              <a:gd name="connsiteY16" fmla="*/ 1046146 h 2092294"/>
              <a:gd name="connsiteX17" fmla="*/ 1046149 w 2092298"/>
              <a:gd name="connsiteY17" fmla="*/ 199886 h 2092294"/>
              <a:gd name="connsiteX18" fmla="*/ 1046149 w 2092298"/>
              <a:gd name="connsiteY18" fmla="*/ 0 h 2092294"/>
              <a:gd name="connsiteX19" fmla="*/ 2092298 w 2092298"/>
              <a:gd name="connsiteY19" fmla="*/ 1046147 h 2092294"/>
              <a:gd name="connsiteX20" fmla="*/ 1046149 w 2092298"/>
              <a:gd name="connsiteY20" fmla="*/ 2092294 h 2092294"/>
              <a:gd name="connsiteX21" fmla="*/ 0 w 2092298"/>
              <a:gd name="connsiteY21" fmla="*/ 1046147 h 2092294"/>
              <a:gd name="connsiteX22" fmla="*/ 1046149 w 2092298"/>
              <a:gd name="connsiteY22" fmla="*/ 0 h 2092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092298" h="2092294">
                <a:moveTo>
                  <a:pt x="422500" y="1061360"/>
                </a:moveTo>
                <a:lnTo>
                  <a:pt x="422500" y="1061361"/>
                </a:lnTo>
                <a:lnTo>
                  <a:pt x="422500" y="1061361"/>
                </a:lnTo>
                <a:close/>
                <a:moveTo>
                  <a:pt x="540560" y="943301"/>
                </a:moveTo>
                <a:lnTo>
                  <a:pt x="1580726" y="943301"/>
                </a:lnTo>
                <a:cubicBezTo>
                  <a:pt x="1645929" y="943301"/>
                  <a:pt x="1698786" y="996158"/>
                  <a:pt x="1698786" y="1061361"/>
                </a:cubicBezTo>
                <a:lnTo>
                  <a:pt x="1698785" y="1061361"/>
                </a:lnTo>
                <a:cubicBezTo>
                  <a:pt x="1698785" y="1126564"/>
                  <a:pt x="1645928" y="1179421"/>
                  <a:pt x="1580725" y="1179421"/>
                </a:cubicBezTo>
                <a:lnTo>
                  <a:pt x="540560" y="1179420"/>
                </a:lnTo>
                <a:cubicBezTo>
                  <a:pt x="491658" y="1179420"/>
                  <a:pt x="449700" y="1149688"/>
                  <a:pt x="431778" y="1107315"/>
                </a:cubicBezTo>
                <a:lnTo>
                  <a:pt x="422500" y="1061361"/>
                </a:lnTo>
                <a:lnTo>
                  <a:pt x="431778" y="1015407"/>
                </a:lnTo>
                <a:cubicBezTo>
                  <a:pt x="449700" y="973033"/>
                  <a:pt x="491658" y="943301"/>
                  <a:pt x="540560" y="943301"/>
                </a:cubicBezTo>
                <a:close/>
                <a:moveTo>
                  <a:pt x="1046149" y="199886"/>
                </a:moveTo>
                <a:cubicBezTo>
                  <a:pt x="578770" y="199886"/>
                  <a:pt x="199885" y="578769"/>
                  <a:pt x="199885" y="1046146"/>
                </a:cubicBezTo>
                <a:cubicBezTo>
                  <a:pt x="199885" y="1513524"/>
                  <a:pt x="578770" y="1892407"/>
                  <a:pt x="1046149" y="1892407"/>
                </a:cubicBezTo>
                <a:cubicBezTo>
                  <a:pt x="1513527" y="1892407"/>
                  <a:pt x="1892412" y="1513524"/>
                  <a:pt x="1892412" y="1046146"/>
                </a:cubicBezTo>
                <a:cubicBezTo>
                  <a:pt x="1892412" y="578769"/>
                  <a:pt x="1513527" y="199886"/>
                  <a:pt x="1046149" y="199886"/>
                </a:cubicBezTo>
                <a:close/>
                <a:moveTo>
                  <a:pt x="1046149" y="0"/>
                </a:moveTo>
                <a:cubicBezTo>
                  <a:pt x="1623921" y="0"/>
                  <a:pt x="2092298" y="468376"/>
                  <a:pt x="2092298" y="1046147"/>
                </a:cubicBezTo>
                <a:cubicBezTo>
                  <a:pt x="2092298" y="1623918"/>
                  <a:pt x="1623921" y="2092294"/>
                  <a:pt x="1046149" y="2092294"/>
                </a:cubicBezTo>
                <a:cubicBezTo>
                  <a:pt x="468377" y="2092294"/>
                  <a:pt x="0" y="1623918"/>
                  <a:pt x="0" y="1046147"/>
                </a:cubicBezTo>
                <a:cubicBezTo>
                  <a:pt x="0" y="468376"/>
                  <a:pt x="468377" y="0"/>
                  <a:pt x="1046149" y="0"/>
                </a:cubicBezTo>
                <a:close/>
              </a:path>
            </a:pathLst>
          </a:custGeom>
          <a:solidFill>
            <a:schemeClr val="bg2"/>
          </a:solidFill>
          <a:ln w="317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600" dirty="0">
              <a:solidFill>
                <a:schemeClr val="tx2"/>
              </a:solidFill>
            </a:endParaRPr>
          </a:p>
        </p:txBody>
      </p:sp>
      <p:sp>
        <p:nvSpPr>
          <p:cNvPr id="98" name="Abgerundetes Rechteck 104">
            <a:extLst>
              <a:ext uri="{FF2B5EF4-FFF2-40B4-BE49-F238E27FC236}">
                <a16:creationId xmlns:a16="http://schemas.microsoft.com/office/drawing/2014/main" id="{A9B67B88-38C7-4854-BBC3-1B746B9000C2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7348161" y="3980479"/>
            <a:ext cx="265385" cy="49098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00" name="Freihandform 105">
            <a:extLst>
              <a:ext uri="{FF2B5EF4-FFF2-40B4-BE49-F238E27FC236}">
                <a16:creationId xmlns:a16="http://schemas.microsoft.com/office/drawing/2014/main" id="{6EF01044-93AE-4C11-A775-7DF61B9F202F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10919648" y="3188271"/>
            <a:ext cx="265386" cy="265386"/>
          </a:xfrm>
          <a:custGeom>
            <a:avLst/>
            <a:gdLst>
              <a:gd name="connsiteX0" fmla="*/ 0 w 1276286"/>
              <a:gd name="connsiteY0" fmla="*/ 638142 h 1276286"/>
              <a:gd name="connsiteX1" fmla="*/ 0 w 1276286"/>
              <a:gd name="connsiteY1" fmla="*/ 638143 h 1276286"/>
              <a:gd name="connsiteX2" fmla="*/ 0 w 1276286"/>
              <a:gd name="connsiteY2" fmla="*/ 638143 h 1276286"/>
              <a:gd name="connsiteX3" fmla="*/ 638143 w 1276286"/>
              <a:gd name="connsiteY3" fmla="*/ 0 h 1276286"/>
              <a:gd name="connsiteX4" fmla="*/ 684097 w 1276286"/>
              <a:gd name="connsiteY4" fmla="*/ 9278 h 1276286"/>
              <a:gd name="connsiteX5" fmla="*/ 756202 w 1276286"/>
              <a:gd name="connsiteY5" fmla="*/ 118060 h 1276286"/>
              <a:gd name="connsiteX6" fmla="*/ 756202 w 1276286"/>
              <a:gd name="connsiteY6" fmla="*/ 520083 h 1276286"/>
              <a:gd name="connsiteX7" fmla="*/ 1158226 w 1276286"/>
              <a:gd name="connsiteY7" fmla="*/ 520083 h 1276286"/>
              <a:gd name="connsiteX8" fmla="*/ 1276286 w 1276286"/>
              <a:gd name="connsiteY8" fmla="*/ 638143 h 1276286"/>
              <a:gd name="connsiteX9" fmla="*/ 1276285 w 1276286"/>
              <a:gd name="connsiteY9" fmla="*/ 638143 h 1276286"/>
              <a:gd name="connsiteX10" fmla="*/ 1158225 w 1276286"/>
              <a:gd name="connsiteY10" fmla="*/ 756203 h 1276286"/>
              <a:gd name="connsiteX11" fmla="*/ 756202 w 1276286"/>
              <a:gd name="connsiteY11" fmla="*/ 756203 h 1276286"/>
              <a:gd name="connsiteX12" fmla="*/ 756202 w 1276286"/>
              <a:gd name="connsiteY12" fmla="*/ 1158226 h 1276286"/>
              <a:gd name="connsiteX13" fmla="*/ 638142 w 1276286"/>
              <a:gd name="connsiteY13" fmla="*/ 1276286 h 1276286"/>
              <a:gd name="connsiteX14" fmla="*/ 638142 w 1276286"/>
              <a:gd name="connsiteY14" fmla="*/ 1276285 h 1276286"/>
              <a:gd name="connsiteX15" fmla="*/ 520082 w 1276286"/>
              <a:gd name="connsiteY15" fmla="*/ 1158225 h 1276286"/>
              <a:gd name="connsiteX16" fmla="*/ 520083 w 1276286"/>
              <a:gd name="connsiteY16" fmla="*/ 756202 h 1276286"/>
              <a:gd name="connsiteX17" fmla="*/ 118060 w 1276286"/>
              <a:gd name="connsiteY17" fmla="*/ 756202 h 1276286"/>
              <a:gd name="connsiteX18" fmla="*/ 9278 w 1276286"/>
              <a:gd name="connsiteY18" fmla="*/ 684096 h 1276286"/>
              <a:gd name="connsiteX19" fmla="*/ 0 w 1276286"/>
              <a:gd name="connsiteY19" fmla="*/ 638143 h 1276286"/>
              <a:gd name="connsiteX20" fmla="*/ 9278 w 1276286"/>
              <a:gd name="connsiteY20" fmla="*/ 592189 h 1276286"/>
              <a:gd name="connsiteX21" fmla="*/ 118060 w 1276286"/>
              <a:gd name="connsiteY21" fmla="*/ 520083 h 1276286"/>
              <a:gd name="connsiteX22" fmla="*/ 520083 w 1276286"/>
              <a:gd name="connsiteY22" fmla="*/ 520083 h 1276286"/>
              <a:gd name="connsiteX23" fmla="*/ 520083 w 1276286"/>
              <a:gd name="connsiteY23" fmla="*/ 118060 h 1276286"/>
              <a:gd name="connsiteX24" fmla="*/ 592189 w 1276286"/>
              <a:gd name="connsiteY24" fmla="*/ 9278 h 1276286"/>
              <a:gd name="connsiteX25" fmla="*/ 638142 w 1276286"/>
              <a:gd name="connsiteY25" fmla="*/ 0 h 1276286"/>
              <a:gd name="connsiteX26" fmla="*/ 638143 w 1276286"/>
              <a:gd name="connsiteY26" fmla="*/ 0 h 1276286"/>
              <a:gd name="connsiteX27" fmla="*/ 638143 w 1276286"/>
              <a:gd name="connsiteY27" fmla="*/ 0 h 1276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76286" h="1276286">
                <a:moveTo>
                  <a:pt x="0" y="638142"/>
                </a:moveTo>
                <a:lnTo>
                  <a:pt x="0" y="638143"/>
                </a:lnTo>
                <a:lnTo>
                  <a:pt x="0" y="638143"/>
                </a:lnTo>
                <a:close/>
                <a:moveTo>
                  <a:pt x="638143" y="0"/>
                </a:moveTo>
                <a:lnTo>
                  <a:pt x="684097" y="9278"/>
                </a:lnTo>
                <a:cubicBezTo>
                  <a:pt x="726470" y="27200"/>
                  <a:pt x="756202" y="69158"/>
                  <a:pt x="756202" y="118060"/>
                </a:cubicBezTo>
                <a:lnTo>
                  <a:pt x="756202" y="520083"/>
                </a:lnTo>
                <a:lnTo>
                  <a:pt x="1158226" y="520083"/>
                </a:lnTo>
                <a:cubicBezTo>
                  <a:pt x="1223429" y="520083"/>
                  <a:pt x="1276286" y="572940"/>
                  <a:pt x="1276286" y="638143"/>
                </a:cubicBezTo>
                <a:lnTo>
                  <a:pt x="1276285" y="638143"/>
                </a:lnTo>
                <a:cubicBezTo>
                  <a:pt x="1276285" y="703346"/>
                  <a:pt x="1223428" y="756203"/>
                  <a:pt x="1158225" y="756203"/>
                </a:cubicBezTo>
                <a:lnTo>
                  <a:pt x="756202" y="756203"/>
                </a:lnTo>
                <a:lnTo>
                  <a:pt x="756202" y="1158226"/>
                </a:lnTo>
                <a:cubicBezTo>
                  <a:pt x="756202" y="1223429"/>
                  <a:pt x="703345" y="1276286"/>
                  <a:pt x="638142" y="1276286"/>
                </a:cubicBezTo>
                <a:lnTo>
                  <a:pt x="638142" y="1276285"/>
                </a:lnTo>
                <a:cubicBezTo>
                  <a:pt x="572939" y="1276285"/>
                  <a:pt x="520082" y="1223428"/>
                  <a:pt x="520082" y="1158225"/>
                </a:cubicBezTo>
                <a:lnTo>
                  <a:pt x="520083" y="756202"/>
                </a:lnTo>
                <a:lnTo>
                  <a:pt x="118060" y="756202"/>
                </a:lnTo>
                <a:cubicBezTo>
                  <a:pt x="69158" y="756202"/>
                  <a:pt x="27200" y="726470"/>
                  <a:pt x="9278" y="684096"/>
                </a:cubicBezTo>
                <a:lnTo>
                  <a:pt x="0" y="638143"/>
                </a:lnTo>
                <a:lnTo>
                  <a:pt x="9278" y="592189"/>
                </a:lnTo>
                <a:cubicBezTo>
                  <a:pt x="27200" y="549815"/>
                  <a:pt x="69158" y="520083"/>
                  <a:pt x="118060" y="520083"/>
                </a:cubicBezTo>
                <a:lnTo>
                  <a:pt x="520083" y="520083"/>
                </a:lnTo>
                <a:lnTo>
                  <a:pt x="520083" y="118060"/>
                </a:lnTo>
                <a:cubicBezTo>
                  <a:pt x="520083" y="69158"/>
                  <a:pt x="549815" y="27200"/>
                  <a:pt x="592189" y="9278"/>
                </a:cubicBezTo>
                <a:close/>
                <a:moveTo>
                  <a:pt x="638142" y="0"/>
                </a:moveTo>
                <a:lnTo>
                  <a:pt x="638143" y="0"/>
                </a:lnTo>
                <a:lnTo>
                  <a:pt x="638143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18" name="Freihandform: Form 117">
            <a:extLst>
              <a:ext uri="{FF2B5EF4-FFF2-40B4-BE49-F238E27FC236}">
                <a16:creationId xmlns:a16="http://schemas.microsoft.com/office/drawing/2014/main" id="{4A244A90-7950-44CF-8CC6-FBD1C5C591A5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7876244" y="3110964"/>
            <a:ext cx="420001" cy="420000"/>
          </a:xfrm>
          <a:custGeom>
            <a:avLst/>
            <a:gdLst>
              <a:gd name="connsiteX0" fmla="*/ 356424 w 504001"/>
              <a:gd name="connsiteY0" fmla="*/ 147577 h 504000"/>
              <a:gd name="connsiteX1" fmla="*/ 382529 w 504001"/>
              <a:gd name="connsiteY1" fmla="*/ 173683 h 504000"/>
              <a:gd name="connsiteX2" fmla="*/ 356424 w 504001"/>
              <a:gd name="connsiteY2" fmla="*/ 199788 h 504000"/>
              <a:gd name="connsiteX3" fmla="*/ 304213 w 504001"/>
              <a:gd name="connsiteY3" fmla="*/ 252000 h 504000"/>
              <a:gd name="connsiteX4" fmla="*/ 329979 w 504001"/>
              <a:gd name="connsiteY4" fmla="*/ 252000 h 504000"/>
              <a:gd name="connsiteX5" fmla="*/ 356424 w 504001"/>
              <a:gd name="connsiteY5" fmla="*/ 278444 h 504000"/>
              <a:gd name="connsiteX6" fmla="*/ 356424 w 504001"/>
              <a:gd name="connsiteY6" fmla="*/ 329977 h 504000"/>
              <a:gd name="connsiteX7" fmla="*/ 329979 w 504001"/>
              <a:gd name="connsiteY7" fmla="*/ 356422 h 504000"/>
              <a:gd name="connsiteX8" fmla="*/ 278446 w 504001"/>
              <a:gd name="connsiteY8" fmla="*/ 356422 h 504000"/>
              <a:gd name="connsiteX9" fmla="*/ 252001 w 504001"/>
              <a:gd name="connsiteY9" fmla="*/ 329977 h 504000"/>
              <a:gd name="connsiteX10" fmla="*/ 252001 w 504001"/>
              <a:gd name="connsiteY10" fmla="*/ 304211 h 504000"/>
              <a:gd name="connsiteX11" fmla="*/ 252001 w 504001"/>
              <a:gd name="connsiteY11" fmla="*/ 278444 h 504000"/>
              <a:gd name="connsiteX12" fmla="*/ 252001 w 504001"/>
              <a:gd name="connsiteY12" fmla="*/ 252000 h 504000"/>
              <a:gd name="connsiteX13" fmla="*/ 356424 w 504001"/>
              <a:gd name="connsiteY13" fmla="*/ 147577 h 504000"/>
              <a:gd name="connsiteX14" fmla="*/ 225896 w 504001"/>
              <a:gd name="connsiteY14" fmla="*/ 147577 h 504000"/>
              <a:gd name="connsiteX15" fmla="*/ 252001 w 504001"/>
              <a:gd name="connsiteY15" fmla="*/ 173683 h 504000"/>
              <a:gd name="connsiteX16" fmla="*/ 225896 w 504001"/>
              <a:gd name="connsiteY16" fmla="*/ 199788 h 504000"/>
              <a:gd name="connsiteX17" fmla="*/ 173685 w 504001"/>
              <a:gd name="connsiteY17" fmla="*/ 252000 h 504000"/>
              <a:gd name="connsiteX18" fmla="*/ 199451 w 504001"/>
              <a:gd name="connsiteY18" fmla="*/ 252000 h 504000"/>
              <a:gd name="connsiteX19" fmla="*/ 225896 w 504001"/>
              <a:gd name="connsiteY19" fmla="*/ 278444 h 504000"/>
              <a:gd name="connsiteX20" fmla="*/ 225896 w 504001"/>
              <a:gd name="connsiteY20" fmla="*/ 329977 h 504000"/>
              <a:gd name="connsiteX21" fmla="*/ 199451 w 504001"/>
              <a:gd name="connsiteY21" fmla="*/ 356422 h 504000"/>
              <a:gd name="connsiteX22" fmla="*/ 147918 w 504001"/>
              <a:gd name="connsiteY22" fmla="*/ 356422 h 504000"/>
              <a:gd name="connsiteX23" fmla="*/ 121473 w 504001"/>
              <a:gd name="connsiteY23" fmla="*/ 329977 h 504000"/>
              <a:gd name="connsiteX24" fmla="*/ 121473 w 504001"/>
              <a:gd name="connsiteY24" fmla="*/ 304211 h 504000"/>
              <a:gd name="connsiteX25" fmla="*/ 121473 w 504001"/>
              <a:gd name="connsiteY25" fmla="*/ 278444 h 504000"/>
              <a:gd name="connsiteX26" fmla="*/ 121473 w 504001"/>
              <a:gd name="connsiteY26" fmla="*/ 252000 h 504000"/>
              <a:gd name="connsiteX27" fmla="*/ 225896 w 504001"/>
              <a:gd name="connsiteY27" fmla="*/ 147577 h 504000"/>
              <a:gd name="connsiteX28" fmla="*/ 252001 w 504001"/>
              <a:gd name="connsiteY28" fmla="*/ 48149 h 504000"/>
              <a:gd name="connsiteX29" fmla="*/ 48149 w 504001"/>
              <a:gd name="connsiteY29" fmla="*/ 252000 h 504000"/>
              <a:gd name="connsiteX30" fmla="*/ 252001 w 504001"/>
              <a:gd name="connsiteY30" fmla="*/ 455850 h 504000"/>
              <a:gd name="connsiteX31" fmla="*/ 455852 w 504001"/>
              <a:gd name="connsiteY31" fmla="*/ 252000 h 504000"/>
              <a:gd name="connsiteX32" fmla="*/ 252001 w 504001"/>
              <a:gd name="connsiteY32" fmla="*/ 48149 h 504000"/>
              <a:gd name="connsiteX33" fmla="*/ 252001 w 504001"/>
              <a:gd name="connsiteY33" fmla="*/ 0 h 504000"/>
              <a:gd name="connsiteX34" fmla="*/ 504001 w 504001"/>
              <a:gd name="connsiteY34" fmla="*/ 252000 h 504000"/>
              <a:gd name="connsiteX35" fmla="*/ 252001 w 504001"/>
              <a:gd name="connsiteY35" fmla="*/ 504000 h 504000"/>
              <a:gd name="connsiteX36" fmla="*/ 0 w 504001"/>
              <a:gd name="connsiteY36" fmla="*/ 252000 h 504000"/>
              <a:gd name="connsiteX37" fmla="*/ 252001 w 504001"/>
              <a:gd name="connsiteY37" fmla="*/ 0 h 5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504001" h="504000">
                <a:moveTo>
                  <a:pt x="356424" y="147577"/>
                </a:moveTo>
                <a:cubicBezTo>
                  <a:pt x="370841" y="147577"/>
                  <a:pt x="382529" y="159265"/>
                  <a:pt x="382529" y="173683"/>
                </a:cubicBezTo>
                <a:cubicBezTo>
                  <a:pt x="382529" y="188100"/>
                  <a:pt x="370841" y="199788"/>
                  <a:pt x="356424" y="199788"/>
                </a:cubicBezTo>
                <a:cubicBezTo>
                  <a:pt x="327588" y="199788"/>
                  <a:pt x="304213" y="223164"/>
                  <a:pt x="304213" y="252000"/>
                </a:cubicBezTo>
                <a:lnTo>
                  <a:pt x="329979" y="252000"/>
                </a:lnTo>
                <a:cubicBezTo>
                  <a:pt x="344584" y="252000"/>
                  <a:pt x="356424" y="263839"/>
                  <a:pt x="356424" y="278444"/>
                </a:cubicBezTo>
                <a:lnTo>
                  <a:pt x="356424" y="329977"/>
                </a:lnTo>
                <a:cubicBezTo>
                  <a:pt x="356424" y="344582"/>
                  <a:pt x="344584" y="356422"/>
                  <a:pt x="329979" y="356422"/>
                </a:cubicBezTo>
                <a:lnTo>
                  <a:pt x="278446" y="356422"/>
                </a:lnTo>
                <a:cubicBezTo>
                  <a:pt x="263841" y="356422"/>
                  <a:pt x="252001" y="344582"/>
                  <a:pt x="252001" y="329977"/>
                </a:cubicBezTo>
                <a:lnTo>
                  <a:pt x="252001" y="304211"/>
                </a:lnTo>
                <a:lnTo>
                  <a:pt x="252001" y="278444"/>
                </a:lnTo>
                <a:lnTo>
                  <a:pt x="252001" y="252000"/>
                </a:lnTo>
                <a:cubicBezTo>
                  <a:pt x="252001" y="194329"/>
                  <a:pt x="298753" y="147577"/>
                  <a:pt x="356424" y="147577"/>
                </a:cubicBezTo>
                <a:close/>
                <a:moveTo>
                  <a:pt x="225896" y="147577"/>
                </a:moveTo>
                <a:cubicBezTo>
                  <a:pt x="240313" y="147577"/>
                  <a:pt x="252001" y="159265"/>
                  <a:pt x="252001" y="173683"/>
                </a:cubicBezTo>
                <a:cubicBezTo>
                  <a:pt x="252001" y="188100"/>
                  <a:pt x="240313" y="199788"/>
                  <a:pt x="225896" y="199788"/>
                </a:cubicBezTo>
                <a:cubicBezTo>
                  <a:pt x="197060" y="199788"/>
                  <a:pt x="173685" y="223164"/>
                  <a:pt x="173685" y="252000"/>
                </a:cubicBezTo>
                <a:lnTo>
                  <a:pt x="199451" y="252000"/>
                </a:lnTo>
                <a:cubicBezTo>
                  <a:pt x="214056" y="252000"/>
                  <a:pt x="225896" y="263839"/>
                  <a:pt x="225896" y="278444"/>
                </a:cubicBezTo>
                <a:lnTo>
                  <a:pt x="225896" y="329977"/>
                </a:lnTo>
                <a:cubicBezTo>
                  <a:pt x="225896" y="344582"/>
                  <a:pt x="214056" y="356422"/>
                  <a:pt x="199451" y="356422"/>
                </a:cubicBezTo>
                <a:lnTo>
                  <a:pt x="147918" y="356422"/>
                </a:lnTo>
                <a:cubicBezTo>
                  <a:pt x="133313" y="356422"/>
                  <a:pt x="121473" y="344582"/>
                  <a:pt x="121473" y="329977"/>
                </a:cubicBezTo>
                <a:lnTo>
                  <a:pt x="121473" y="304211"/>
                </a:lnTo>
                <a:lnTo>
                  <a:pt x="121473" y="278444"/>
                </a:lnTo>
                <a:lnTo>
                  <a:pt x="121473" y="252000"/>
                </a:lnTo>
                <a:cubicBezTo>
                  <a:pt x="121473" y="194329"/>
                  <a:pt x="168225" y="147577"/>
                  <a:pt x="225896" y="147577"/>
                </a:cubicBezTo>
                <a:close/>
                <a:moveTo>
                  <a:pt x="252001" y="48149"/>
                </a:moveTo>
                <a:cubicBezTo>
                  <a:pt x="139417" y="48149"/>
                  <a:pt x="48149" y="139416"/>
                  <a:pt x="48149" y="252000"/>
                </a:cubicBezTo>
                <a:cubicBezTo>
                  <a:pt x="48149" y="364583"/>
                  <a:pt x="139417" y="455850"/>
                  <a:pt x="252001" y="455850"/>
                </a:cubicBezTo>
                <a:cubicBezTo>
                  <a:pt x="364585" y="455850"/>
                  <a:pt x="455852" y="364583"/>
                  <a:pt x="455852" y="252000"/>
                </a:cubicBezTo>
                <a:cubicBezTo>
                  <a:pt x="455852" y="139416"/>
                  <a:pt x="364585" y="48149"/>
                  <a:pt x="252001" y="48149"/>
                </a:cubicBezTo>
                <a:close/>
                <a:moveTo>
                  <a:pt x="252001" y="0"/>
                </a:moveTo>
                <a:cubicBezTo>
                  <a:pt x="391177" y="0"/>
                  <a:pt x="504001" y="112824"/>
                  <a:pt x="504001" y="252000"/>
                </a:cubicBezTo>
                <a:cubicBezTo>
                  <a:pt x="504001" y="391176"/>
                  <a:pt x="391177" y="504000"/>
                  <a:pt x="252001" y="504000"/>
                </a:cubicBezTo>
                <a:cubicBezTo>
                  <a:pt x="112824" y="504000"/>
                  <a:pt x="0" y="391176"/>
                  <a:pt x="0" y="252000"/>
                </a:cubicBezTo>
                <a:cubicBezTo>
                  <a:pt x="0" y="112824"/>
                  <a:pt x="112824" y="0"/>
                  <a:pt x="252001" y="0"/>
                </a:cubicBezTo>
                <a:close/>
              </a:path>
            </a:pathLst>
          </a:cu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17" name="Freihandform: Form 116">
            <a:extLst>
              <a:ext uri="{FF2B5EF4-FFF2-40B4-BE49-F238E27FC236}">
                <a16:creationId xmlns:a16="http://schemas.microsoft.com/office/drawing/2014/main" id="{959D8A07-7802-4D42-945E-8F17D91C76D4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7372080" y="3233945"/>
            <a:ext cx="217547" cy="174038"/>
          </a:xfrm>
          <a:custGeom>
            <a:avLst/>
            <a:gdLst>
              <a:gd name="connsiteX0" fmla="*/ 550861 w 612068"/>
              <a:gd name="connsiteY0" fmla="*/ 0 h 489654"/>
              <a:gd name="connsiteX1" fmla="*/ 612068 w 612068"/>
              <a:gd name="connsiteY1" fmla="*/ 61207 h 489654"/>
              <a:gd name="connsiteX2" fmla="*/ 550861 w 612068"/>
              <a:gd name="connsiteY2" fmla="*/ 122414 h 489654"/>
              <a:gd name="connsiteX3" fmla="*/ 428448 w 612068"/>
              <a:gd name="connsiteY3" fmla="*/ 244827 h 489654"/>
              <a:gd name="connsiteX4" fmla="*/ 488859 w 612068"/>
              <a:gd name="connsiteY4" fmla="*/ 244827 h 489654"/>
              <a:gd name="connsiteX5" fmla="*/ 550861 w 612068"/>
              <a:gd name="connsiteY5" fmla="*/ 306829 h 489654"/>
              <a:gd name="connsiteX6" fmla="*/ 550861 w 612068"/>
              <a:gd name="connsiteY6" fmla="*/ 427652 h 489654"/>
              <a:gd name="connsiteX7" fmla="*/ 488859 w 612068"/>
              <a:gd name="connsiteY7" fmla="*/ 489654 h 489654"/>
              <a:gd name="connsiteX8" fmla="*/ 368037 w 612068"/>
              <a:gd name="connsiteY8" fmla="*/ 489654 h 489654"/>
              <a:gd name="connsiteX9" fmla="*/ 306034 w 612068"/>
              <a:gd name="connsiteY9" fmla="*/ 427652 h 489654"/>
              <a:gd name="connsiteX10" fmla="*/ 306034 w 612068"/>
              <a:gd name="connsiteY10" fmla="*/ 367241 h 489654"/>
              <a:gd name="connsiteX11" fmla="*/ 306034 w 612068"/>
              <a:gd name="connsiteY11" fmla="*/ 306829 h 489654"/>
              <a:gd name="connsiteX12" fmla="*/ 306034 w 612068"/>
              <a:gd name="connsiteY12" fmla="*/ 244827 h 489654"/>
              <a:gd name="connsiteX13" fmla="*/ 550861 w 612068"/>
              <a:gd name="connsiteY13" fmla="*/ 0 h 489654"/>
              <a:gd name="connsiteX14" fmla="*/ 244827 w 612068"/>
              <a:gd name="connsiteY14" fmla="*/ 0 h 489654"/>
              <a:gd name="connsiteX15" fmla="*/ 306034 w 612068"/>
              <a:gd name="connsiteY15" fmla="*/ 61207 h 489654"/>
              <a:gd name="connsiteX16" fmla="*/ 244827 w 612068"/>
              <a:gd name="connsiteY16" fmla="*/ 122414 h 489654"/>
              <a:gd name="connsiteX17" fmla="*/ 122414 w 612068"/>
              <a:gd name="connsiteY17" fmla="*/ 244827 h 489654"/>
              <a:gd name="connsiteX18" fmla="*/ 182825 w 612068"/>
              <a:gd name="connsiteY18" fmla="*/ 244827 h 489654"/>
              <a:gd name="connsiteX19" fmla="*/ 244827 w 612068"/>
              <a:gd name="connsiteY19" fmla="*/ 306829 h 489654"/>
              <a:gd name="connsiteX20" fmla="*/ 244827 w 612068"/>
              <a:gd name="connsiteY20" fmla="*/ 427652 h 489654"/>
              <a:gd name="connsiteX21" fmla="*/ 182825 w 612068"/>
              <a:gd name="connsiteY21" fmla="*/ 489654 h 489654"/>
              <a:gd name="connsiteX22" fmla="*/ 62003 w 612068"/>
              <a:gd name="connsiteY22" fmla="*/ 489654 h 489654"/>
              <a:gd name="connsiteX23" fmla="*/ 0 w 612068"/>
              <a:gd name="connsiteY23" fmla="*/ 427652 h 489654"/>
              <a:gd name="connsiteX24" fmla="*/ 0 w 612068"/>
              <a:gd name="connsiteY24" fmla="*/ 367241 h 489654"/>
              <a:gd name="connsiteX25" fmla="*/ 0 w 612068"/>
              <a:gd name="connsiteY25" fmla="*/ 306829 h 489654"/>
              <a:gd name="connsiteX26" fmla="*/ 0 w 612068"/>
              <a:gd name="connsiteY26" fmla="*/ 244827 h 489654"/>
              <a:gd name="connsiteX27" fmla="*/ 244827 w 612068"/>
              <a:gd name="connsiteY27" fmla="*/ 0 h 489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12068" h="489654">
                <a:moveTo>
                  <a:pt x="550861" y="0"/>
                </a:moveTo>
                <a:cubicBezTo>
                  <a:pt x="584665" y="0"/>
                  <a:pt x="612068" y="27403"/>
                  <a:pt x="612068" y="61207"/>
                </a:cubicBezTo>
                <a:cubicBezTo>
                  <a:pt x="612068" y="95010"/>
                  <a:pt x="584665" y="122414"/>
                  <a:pt x="550861" y="122414"/>
                </a:cubicBezTo>
                <a:cubicBezTo>
                  <a:pt x="483254" y="122414"/>
                  <a:pt x="428448" y="177220"/>
                  <a:pt x="428448" y="244827"/>
                </a:cubicBezTo>
                <a:lnTo>
                  <a:pt x="488859" y="244827"/>
                </a:lnTo>
                <a:cubicBezTo>
                  <a:pt x="523102" y="244827"/>
                  <a:pt x="550861" y="272586"/>
                  <a:pt x="550861" y="306829"/>
                </a:cubicBezTo>
                <a:lnTo>
                  <a:pt x="550861" y="427652"/>
                </a:lnTo>
                <a:cubicBezTo>
                  <a:pt x="550861" y="461895"/>
                  <a:pt x="523102" y="489654"/>
                  <a:pt x="488859" y="489654"/>
                </a:cubicBezTo>
                <a:lnTo>
                  <a:pt x="368037" y="489654"/>
                </a:lnTo>
                <a:cubicBezTo>
                  <a:pt x="333794" y="489654"/>
                  <a:pt x="306034" y="461895"/>
                  <a:pt x="306034" y="427652"/>
                </a:cubicBezTo>
                <a:lnTo>
                  <a:pt x="306034" y="367241"/>
                </a:lnTo>
                <a:lnTo>
                  <a:pt x="306034" y="306829"/>
                </a:lnTo>
                <a:lnTo>
                  <a:pt x="306034" y="244827"/>
                </a:lnTo>
                <a:cubicBezTo>
                  <a:pt x="306034" y="109613"/>
                  <a:pt x="415647" y="0"/>
                  <a:pt x="550861" y="0"/>
                </a:cubicBezTo>
                <a:close/>
                <a:moveTo>
                  <a:pt x="244827" y="0"/>
                </a:moveTo>
                <a:cubicBezTo>
                  <a:pt x="278631" y="0"/>
                  <a:pt x="306034" y="27403"/>
                  <a:pt x="306034" y="61207"/>
                </a:cubicBezTo>
                <a:cubicBezTo>
                  <a:pt x="306034" y="95010"/>
                  <a:pt x="278631" y="122414"/>
                  <a:pt x="244827" y="122414"/>
                </a:cubicBezTo>
                <a:cubicBezTo>
                  <a:pt x="177220" y="122414"/>
                  <a:pt x="122414" y="177220"/>
                  <a:pt x="122414" y="244827"/>
                </a:cubicBezTo>
                <a:lnTo>
                  <a:pt x="182825" y="244827"/>
                </a:lnTo>
                <a:cubicBezTo>
                  <a:pt x="217068" y="244827"/>
                  <a:pt x="244827" y="272586"/>
                  <a:pt x="244827" y="306829"/>
                </a:cubicBezTo>
                <a:lnTo>
                  <a:pt x="244827" y="427652"/>
                </a:lnTo>
                <a:cubicBezTo>
                  <a:pt x="244827" y="461895"/>
                  <a:pt x="217068" y="489654"/>
                  <a:pt x="182825" y="489654"/>
                </a:cubicBezTo>
                <a:lnTo>
                  <a:pt x="62003" y="489654"/>
                </a:lnTo>
                <a:cubicBezTo>
                  <a:pt x="27760" y="489654"/>
                  <a:pt x="0" y="461895"/>
                  <a:pt x="0" y="427652"/>
                </a:cubicBezTo>
                <a:lnTo>
                  <a:pt x="0" y="367241"/>
                </a:lnTo>
                <a:lnTo>
                  <a:pt x="0" y="306829"/>
                </a:lnTo>
                <a:lnTo>
                  <a:pt x="0" y="244827"/>
                </a:lnTo>
                <a:cubicBezTo>
                  <a:pt x="0" y="109613"/>
                  <a:pt x="109613" y="0"/>
                  <a:pt x="244827" y="0"/>
                </a:cubicBezTo>
                <a:close/>
              </a:path>
            </a:pathLst>
          </a:cu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21" name="Freeform 9">
            <a:extLst>
              <a:ext uri="{FF2B5EF4-FFF2-40B4-BE49-F238E27FC236}">
                <a16:creationId xmlns:a16="http://schemas.microsoft.com/office/drawing/2014/main" id="{21D5B5A9-7FC9-4880-B792-C502570A3E7F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9730813" y="3890938"/>
            <a:ext cx="262064" cy="228181"/>
          </a:xfrm>
          <a:custGeom>
            <a:avLst/>
            <a:gdLst>
              <a:gd name="T0" fmla="*/ 791 w 821"/>
              <a:gd name="T1" fmla="*/ 303 h 716"/>
              <a:gd name="T2" fmla="*/ 791 w 821"/>
              <a:gd name="T3" fmla="*/ 303 h 716"/>
              <a:gd name="T4" fmla="*/ 517 w 821"/>
              <a:gd name="T5" fmla="*/ 29 h 716"/>
              <a:gd name="T6" fmla="*/ 418 w 821"/>
              <a:gd name="T7" fmla="*/ 24 h 716"/>
              <a:gd name="T8" fmla="*/ 415 w 821"/>
              <a:gd name="T9" fmla="*/ 125 h 716"/>
              <a:gd name="T10" fmla="*/ 539 w 821"/>
              <a:gd name="T11" fmla="*/ 249 h 716"/>
              <a:gd name="T12" fmla="*/ 524 w 821"/>
              <a:gd name="T13" fmla="*/ 287 h 716"/>
              <a:gd name="T14" fmla="*/ 76 w 821"/>
              <a:gd name="T15" fmla="*/ 287 h 716"/>
              <a:gd name="T16" fmla="*/ 2 w 821"/>
              <a:gd name="T17" fmla="*/ 354 h 716"/>
              <a:gd name="T18" fmla="*/ 72 w 821"/>
              <a:gd name="T19" fmla="*/ 427 h 716"/>
              <a:gd name="T20" fmla="*/ 524 w 821"/>
              <a:gd name="T21" fmla="*/ 427 h 716"/>
              <a:gd name="T22" fmla="*/ 539 w 821"/>
              <a:gd name="T23" fmla="*/ 465 h 716"/>
              <a:gd name="T24" fmla="*/ 418 w 821"/>
              <a:gd name="T25" fmla="*/ 587 h 716"/>
              <a:gd name="T26" fmla="*/ 413 w 821"/>
              <a:gd name="T27" fmla="*/ 685 h 716"/>
              <a:gd name="T28" fmla="*/ 514 w 821"/>
              <a:gd name="T29" fmla="*/ 688 h 716"/>
              <a:gd name="T30" fmla="*/ 791 w 821"/>
              <a:gd name="T31" fmla="*/ 412 h 716"/>
              <a:gd name="T32" fmla="*/ 791 w 821"/>
              <a:gd name="T33" fmla="*/ 303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821" h="716">
                <a:moveTo>
                  <a:pt x="791" y="303"/>
                </a:moveTo>
                <a:lnTo>
                  <a:pt x="791" y="303"/>
                </a:lnTo>
                <a:lnTo>
                  <a:pt x="517" y="29"/>
                </a:lnTo>
                <a:cubicBezTo>
                  <a:pt x="490" y="4"/>
                  <a:pt x="446" y="0"/>
                  <a:pt x="418" y="24"/>
                </a:cubicBezTo>
                <a:cubicBezTo>
                  <a:pt x="388" y="51"/>
                  <a:pt x="387" y="97"/>
                  <a:pt x="415" y="125"/>
                </a:cubicBezTo>
                <a:lnTo>
                  <a:pt x="539" y="249"/>
                </a:lnTo>
                <a:cubicBezTo>
                  <a:pt x="553" y="263"/>
                  <a:pt x="543" y="287"/>
                  <a:pt x="524" y="287"/>
                </a:cubicBezTo>
                <a:lnTo>
                  <a:pt x="76" y="287"/>
                </a:lnTo>
                <a:cubicBezTo>
                  <a:pt x="38" y="287"/>
                  <a:pt x="4" y="316"/>
                  <a:pt x="2" y="354"/>
                </a:cubicBezTo>
                <a:cubicBezTo>
                  <a:pt x="0" y="394"/>
                  <a:pt x="32" y="427"/>
                  <a:pt x="72" y="427"/>
                </a:cubicBezTo>
                <a:lnTo>
                  <a:pt x="524" y="427"/>
                </a:lnTo>
                <a:cubicBezTo>
                  <a:pt x="543" y="427"/>
                  <a:pt x="553" y="451"/>
                  <a:pt x="539" y="465"/>
                </a:cubicBezTo>
                <a:lnTo>
                  <a:pt x="418" y="587"/>
                </a:lnTo>
                <a:cubicBezTo>
                  <a:pt x="391" y="613"/>
                  <a:pt x="387" y="657"/>
                  <a:pt x="413" y="685"/>
                </a:cubicBezTo>
                <a:cubicBezTo>
                  <a:pt x="440" y="715"/>
                  <a:pt x="486" y="716"/>
                  <a:pt x="514" y="688"/>
                </a:cubicBezTo>
                <a:lnTo>
                  <a:pt x="791" y="412"/>
                </a:lnTo>
                <a:cubicBezTo>
                  <a:pt x="821" y="382"/>
                  <a:pt x="821" y="333"/>
                  <a:pt x="791" y="303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23" name="Freihandform: Form 122">
            <a:extLst>
              <a:ext uri="{FF2B5EF4-FFF2-40B4-BE49-F238E27FC236}">
                <a16:creationId xmlns:a16="http://schemas.microsoft.com/office/drawing/2014/main" id="{30C326E0-DE7D-427F-AE58-BEC391A5DC4B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8570331" y="3904010"/>
            <a:ext cx="202036" cy="202036"/>
          </a:xfrm>
          <a:custGeom>
            <a:avLst/>
            <a:gdLst>
              <a:gd name="connsiteX0" fmla="*/ 212985 w 242443"/>
              <a:gd name="connsiteY0" fmla="*/ 0 h 242443"/>
              <a:gd name="connsiteX1" fmla="*/ 233815 w 242443"/>
              <a:gd name="connsiteY1" fmla="*/ 8628 h 242443"/>
              <a:gd name="connsiteX2" fmla="*/ 233815 w 242443"/>
              <a:gd name="connsiteY2" fmla="*/ 8628 h 242443"/>
              <a:gd name="connsiteX3" fmla="*/ 233815 w 242443"/>
              <a:gd name="connsiteY3" fmla="*/ 50289 h 242443"/>
              <a:gd name="connsiteX4" fmla="*/ 162882 w 242443"/>
              <a:gd name="connsiteY4" fmla="*/ 121222 h 242443"/>
              <a:gd name="connsiteX5" fmla="*/ 233815 w 242443"/>
              <a:gd name="connsiteY5" fmla="*/ 192154 h 242443"/>
              <a:gd name="connsiteX6" fmla="*/ 233815 w 242443"/>
              <a:gd name="connsiteY6" fmla="*/ 233815 h 242443"/>
              <a:gd name="connsiteX7" fmla="*/ 233815 w 242443"/>
              <a:gd name="connsiteY7" fmla="*/ 233815 h 242443"/>
              <a:gd name="connsiteX8" fmla="*/ 192154 w 242443"/>
              <a:gd name="connsiteY8" fmla="*/ 233815 h 242443"/>
              <a:gd name="connsiteX9" fmla="*/ 121221 w 242443"/>
              <a:gd name="connsiteY9" fmla="*/ 162882 h 242443"/>
              <a:gd name="connsiteX10" fmla="*/ 50289 w 242443"/>
              <a:gd name="connsiteY10" fmla="*/ 233815 h 242443"/>
              <a:gd name="connsiteX11" fmla="*/ 18373 w 242443"/>
              <a:gd name="connsiteY11" fmla="*/ 240286 h 242443"/>
              <a:gd name="connsiteX12" fmla="*/ 8628 w 242443"/>
              <a:gd name="connsiteY12" fmla="*/ 233815 h 242443"/>
              <a:gd name="connsiteX13" fmla="*/ 2157 w 242443"/>
              <a:gd name="connsiteY13" fmla="*/ 224070 h 242443"/>
              <a:gd name="connsiteX14" fmla="*/ 8628 w 242443"/>
              <a:gd name="connsiteY14" fmla="*/ 192154 h 242443"/>
              <a:gd name="connsiteX15" fmla="*/ 79561 w 242443"/>
              <a:gd name="connsiteY15" fmla="*/ 121222 h 242443"/>
              <a:gd name="connsiteX16" fmla="*/ 8628 w 242443"/>
              <a:gd name="connsiteY16" fmla="*/ 50289 h 242443"/>
              <a:gd name="connsiteX17" fmla="*/ 2157 w 242443"/>
              <a:gd name="connsiteY17" fmla="*/ 18373 h 242443"/>
              <a:gd name="connsiteX18" fmla="*/ 8628 w 242443"/>
              <a:gd name="connsiteY18" fmla="*/ 8628 h 242443"/>
              <a:gd name="connsiteX19" fmla="*/ 18373 w 242443"/>
              <a:gd name="connsiteY19" fmla="*/ 2157 h 242443"/>
              <a:gd name="connsiteX20" fmla="*/ 50289 w 242443"/>
              <a:gd name="connsiteY20" fmla="*/ 8628 h 242443"/>
              <a:gd name="connsiteX21" fmla="*/ 121221 w 242443"/>
              <a:gd name="connsiteY21" fmla="*/ 79561 h 242443"/>
              <a:gd name="connsiteX22" fmla="*/ 192154 w 242443"/>
              <a:gd name="connsiteY22" fmla="*/ 8628 h 242443"/>
              <a:gd name="connsiteX23" fmla="*/ 212985 w 242443"/>
              <a:gd name="connsiteY23" fmla="*/ 0 h 242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42443" h="242443">
                <a:moveTo>
                  <a:pt x="212985" y="0"/>
                </a:moveTo>
                <a:cubicBezTo>
                  <a:pt x="220524" y="0"/>
                  <a:pt x="228063" y="2876"/>
                  <a:pt x="233815" y="8628"/>
                </a:cubicBezTo>
                <a:lnTo>
                  <a:pt x="233815" y="8628"/>
                </a:lnTo>
                <a:cubicBezTo>
                  <a:pt x="245319" y="20132"/>
                  <a:pt x="245319" y="38785"/>
                  <a:pt x="233815" y="50289"/>
                </a:cubicBezTo>
                <a:lnTo>
                  <a:pt x="162882" y="121222"/>
                </a:lnTo>
                <a:lnTo>
                  <a:pt x="233815" y="192154"/>
                </a:lnTo>
                <a:cubicBezTo>
                  <a:pt x="245319" y="203659"/>
                  <a:pt x="245319" y="222311"/>
                  <a:pt x="233815" y="233815"/>
                </a:cubicBezTo>
                <a:lnTo>
                  <a:pt x="233815" y="233815"/>
                </a:lnTo>
                <a:cubicBezTo>
                  <a:pt x="222310" y="245320"/>
                  <a:pt x="203658" y="245320"/>
                  <a:pt x="192154" y="233815"/>
                </a:cubicBezTo>
                <a:lnTo>
                  <a:pt x="121221" y="162882"/>
                </a:lnTo>
                <a:lnTo>
                  <a:pt x="50289" y="233815"/>
                </a:lnTo>
                <a:cubicBezTo>
                  <a:pt x="41660" y="242443"/>
                  <a:pt x="29011" y="244600"/>
                  <a:pt x="18373" y="240286"/>
                </a:cubicBezTo>
                <a:lnTo>
                  <a:pt x="8628" y="233815"/>
                </a:lnTo>
                <a:lnTo>
                  <a:pt x="2157" y="224070"/>
                </a:lnTo>
                <a:cubicBezTo>
                  <a:pt x="-2158" y="213431"/>
                  <a:pt x="0" y="200783"/>
                  <a:pt x="8628" y="192154"/>
                </a:cubicBezTo>
                <a:lnTo>
                  <a:pt x="79561" y="121222"/>
                </a:lnTo>
                <a:lnTo>
                  <a:pt x="8628" y="50289"/>
                </a:lnTo>
                <a:cubicBezTo>
                  <a:pt x="0" y="41660"/>
                  <a:pt x="-2158" y="29012"/>
                  <a:pt x="2157" y="18373"/>
                </a:cubicBezTo>
                <a:lnTo>
                  <a:pt x="8628" y="8628"/>
                </a:lnTo>
                <a:lnTo>
                  <a:pt x="18373" y="2157"/>
                </a:lnTo>
                <a:cubicBezTo>
                  <a:pt x="29011" y="-2157"/>
                  <a:pt x="41660" y="0"/>
                  <a:pt x="50289" y="8628"/>
                </a:cubicBezTo>
                <a:lnTo>
                  <a:pt x="121221" y="79561"/>
                </a:lnTo>
                <a:lnTo>
                  <a:pt x="192154" y="8628"/>
                </a:lnTo>
                <a:cubicBezTo>
                  <a:pt x="197906" y="2876"/>
                  <a:pt x="205446" y="0"/>
                  <a:pt x="212985" y="0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25" name="Freihandform: Form 124">
            <a:extLst>
              <a:ext uri="{FF2B5EF4-FFF2-40B4-BE49-F238E27FC236}">
                <a16:creationId xmlns:a16="http://schemas.microsoft.com/office/drawing/2014/main" id="{47D9D651-3312-48DA-896F-34F1BFC17C05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9056597" y="3789028"/>
            <a:ext cx="432001" cy="432000"/>
          </a:xfrm>
          <a:custGeom>
            <a:avLst/>
            <a:gdLst>
              <a:gd name="connsiteX0" fmla="*/ 350323 w 518401"/>
              <a:gd name="connsiteY0" fmla="*/ 138870 h 518400"/>
              <a:gd name="connsiteX1" fmla="*/ 371007 w 518401"/>
              <a:gd name="connsiteY1" fmla="*/ 147437 h 518400"/>
              <a:gd name="connsiteX2" fmla="*/ 371007 w 518401"/>
              <a:gd name="connsiteY2" fmla="*/ 147438 h 518400"/>
              <a:gd name="connsiteX3" fmla="*/ 371007 w 518401"/>
              <a:gd name="connsiteY3" fmla="*/ 188805 h 518400"/>
              <a:gd name="connsiteX4" fmla="*/ 300574 w 518401"/>
              <a:gd name="connsiteY4" fmla="*/ 259239 h 518400"/>
              <a:gd name="connsiteX5" fmla="*/ 371007 w 518401"/>
              <a:gd name="connsiteY5" fmla="*/ 329672 h 518400"/>
              <a:gd name="connsiteX6" fmla="*/ 371007 w 518401"/>
              <a:gd name="connsiteY6" fmla="*/ 371039 h 518400"/>
              <a:gd name="connsiteX7" fmla="*/ 371007 w 518401"/>
              <a:gd name="connsiteY7" fmla="*/ 371039 h 518400"/>
              <a:gd name="connsiteX8" fmla="*/ 329639 w 518401"/>
              <a:gd name="connsiteY8" fmla="*/ 371039 h 518400"/>
              <a:gd name="connsiteX9" fmla="*/ 259206 w 518401"/>
              <a:gd name="connsiteY9" fmla="*/ 300606 h 518400"/>
              <a:gd name="connsiteX10" fmla="*/ 188773 w 518401"/>
              <a:gd name="connsiteY10" fmla="*/ 371039 h 518400"/>
              <a:gd name="connsiteX11" fmla="*/ 157082 w 518401"/>
              <a:gd name="connsiteY11" fmla="*/ 377465 h 518400"/>
              <a:gd name="connsiteX12" fmla="*/ 147405 w 518401"/>
              <a:gd name="connsiteY12" fmla="*/ 371039 h 518400"/>
              <a:gd name="connsiteX13" fmla="*/ 140980 w 518401"/>
              <a:gd name="connsiteY13" fmla="*/ 361363 h 518400"/>
              <a:gd name="connsiteX14" fmla="*/ 147405 w 518401"/>
              <a:gd name="connsiteY14" fmla="*/ 329672 h 518400"/>
              <a:gd name="connsiteX15" fmla="*/ 217839 w 518401"/>
              <a:gd name="connsiteY15" fmla="*/ 259238 h 518400"/>
              <a:gd name="connsiteX16" fmla="*/ 147405 w 518401"/>
              <a:gd name="connsiteY16" fmla="*/ 188805 h 518400"/>
              <a:gd name="connsiteX17" fmla="*/ 140980 w 518401"/>
              <a:gd name="connsiteY17" fmla="*/ 157114 h 518400"/>
              <a:gd name="connsiteX18" fmla="*/ 147405 w 518401"/>
              <a:gd name="connsiteY18" fmla="*/ 147437 h 518400"/>
              <a:gd name="connsiteX19" fmla="*/ 157082 w 518401"/>
              <a:gd name="connsiteY19" fmla="*/ 141012 h 518400"/>
              <a:gd name="connsiteX20" fmla="*/ 188773 w 518401"/>
              <a:gd name="connsiteY20" fmla="*/ 147438 h 518400"/>
              <a:gd name="connsiteX21" fmla="*/ 259206 w 518401"/>
              <a:gd name="connsiteY21" fmla="*/ 217871 h 518400"/>
              <a:gd name="connsiteX22" fmla="*/ 329640 w 518401"/>
              <a:gd name="connsiteY22" fmla="*/ 147437 h 518400"/>
              <a:gd name="connsiteX23" fmla="*/ 350323 w 518401"/>
              <a:gd name="connsiteY23" fmla="*/ 138870 h 518400"/>
              <a:gd name="connsiteX24" fmla="*/ 259200 w 518401"/>
              <a:gd name="connsiteY24" fmla="*/ 49525 h 518400"/>
              <a:gd name="connsiteX25" fmla="*/ 110938 w 518401"/>
              <a:gd name="connsiteY25" fmla="*/ 110937 h 518400"/>
              <a:gd name="connsiteX26" fmla="*/ 110937 w 518401"/>
              <a:gd name="connsiteY26" fmla="*/ 407463 h 518400"/>
              <a:gd name="connsiteX27" fmla="*/ 407463 w 518401"/>
              <a:gd name="connsiteY27" fmla="*/ 407462 h 518400"/>
              <a:gd name="connsiteX28" fmla="*/ 407463 w 518401"/>
              <a:gd name="connsiteY28" fmla="*/ 110937 h 518400"/>
              <a:gd name="connsiteX29" fmla="*/ 259200 w 518401"/>
              <a:gd name="connsiteY29" fmla="*/ 49525 h 518400"/>
              <a:gd name="connsiteX30" fmla="*/ 259200 w 518401"/>
              <a:gd name="connsiteY30" fmla="*/ 0 h 518400"/>
              <a:gd name="connsiteX31" fmla="*/ 442483 w 518401"/>
              <a:gd name="connsiteY31" fmla="*/ 75918 h 518400"/>
              <a:gd name="connsiteX32" fmla="*/ 442483 w 518401"/>
              <a:gd name="connsiteY32" fmla="*/ 442482 h 518400"/>
              <a:gd name="connsiteX33" fmla="*/ 75918 w 518401"/>
              <a:gd name="connsiteY33" fmla="*/ 442482 h 518400"/>
              <a:gd name="connsiteX34" fmla="*/ 75918 w 518401"/>
              <a:gd name="connsiteY34" fmla="*/ 75918 h 518400"/>
              <a:gd name="connsiteX35" fmla="*/ 259200 w 518401"/>
              <a:gd name="connsiteY35" fmla="*/ 0 h 51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18401" h="518400">
                <a:moveTo>
                  <a:pt x="350323" y="138870"/>
                </a:moveTo>
                <a:cubicBezTo>
                  <a:pt x="357809" y="138870"/>
                  <a:pt x="365295" y="141726"/>
                  <a:pt x="371007" y="147437"/>
                </a:cubicBezTo>
                <a:lnTo>
                  <a:pt x="371007" y="147438"/>
                </a:lnTo>
                <a:cubicBezTo>
                  <a:pt x="382430" y="158861"/>
                  <a:pt x="382430" y="177382"/>
                  <a:pt x="371007" y="188805"/>
                </a:cubicBezTo>
                <a:lnTo>
                  <a:pt x="300574" y="259239"/>
                </a:lnTo>
                <a:lnTo>
                  <a:pt x="371007" y="329672"/>
                </a:lnTo>
                <a:cubicBezTo>
                  <a:pt x="382430" y="341095"/>
                  <a:pt x="382430" y="359616"/>
                  <a:pt x="371007" y="371039"/>
                </a:cubicBezTo>
                <a:lnTo>
                  <a:pt x="371007" y="371039"/>
                </a:lnTo>
                <a:cubicBezTo>
                  <a:pt x="359583" y="382463"/>
                  <a:pt x="341063" y="382463"/>
                  <a:pt x="329639" y="371039"/>
                </a:cubicBezTo>
                <a:lnTo>
                  <a:pt x="259206" y="300606"/>
                </a:lnTo>
                <a:lnTo>
                  <a:pt x="188773" y="371039"/>
                </a:lnTo>
                <a:cubicBezTo>
                  <a:pt x="180205" y="379607"/>
                  <a:pt x="167645" y="381749"/>
                  <a:pt x="157082" y="377465"/>
                </a:cubicBezTo>
                <a:lnTo>
                  <a:pt x="147405" y="371039"/>
                </a:lnTo>
                <a:lnTo>
                  <a:pt x="140980" y="361363"/>
                </a:lnTo>
                <a:cubicBezTo>
                  <a:pt x="136696" y="350799"/>
                  <a:pt x="138838" y="338239"/>
                  <a:pt x="147405" y="329672"/>
                </a:cubicBezTo>
                <a:lnTo>
                  <a:pt x="217839" y="259238"/>
                </a:lnTo>
                <a:lnTo>
                  <a:pt x="147405" y="188805"/>
                </a:lnTo>
                <a:cubicBezTo>
                  <a:pt x="138838" y="180238"/>
                  <a:pt x="136696" y="167678"/>
                  <a:pt x="140980" y="157114"/>
                </a:cubicBezTo>
                <a:lnTo>
                  <a:pt x="147405" y="147437"/>
                </a:lnTo>
                <a:lnTo>
                  <a:pt x="157082" y="141012"/>
                </a:lnTo>
                <a:cubicBezTo>
                  <a:pt x="167645" y="136728"/>
                  <a:pt x="180205" y="138870"/>
                  <a:pt x="188773" y="147438"/>
                </a:cubicBezTo>
                <a:lnTo>
                  <a:pt x="259206" y="217871"/>
                </a:lnTo>
                <a:lnTo>
                  <a:pt x="329640" y="147437"/>
                </a:lnTo>
                <a:cubicBezTo>
                  <a:pt x="335352" y="141726"/>
                  <a:pt x="342838" y="138870"/>
                  <a:pt x="350323" y="138870"/>
                </a:cubicBezTo>
                <a:close/>
                <a:moveTo>
                  <a:pt x="259200" y="49525"/>
                </a:moveTo>
                <a:cubicBezTo>
                  <a:pt x="205540" y="49525"/>
                  <a:pt x="151880" y="69996"/>
                  <a:pt x="110938" y="110937"/>
                </a:cubicBezTo>
                <a:cubicBezTo>
                  <a:pt x="29054" y="192821"/>
                  <a:pt x="29054" y="325580"/>
                  <a:pt x="110937" y="407463"/>
                </a:cubicBezTo>
                <a:cubicBezTo>
                  <a:pt x="192821" y="489346"/>
                  <a:pt x="325579" y="489346"/>
                  <a:pt x="407463" y="407462"/>
                </a:cubicBezTo>
                <a:cubicBezTo>
                  <a:pt x="489346" y="325579"/>
                  <a:pt x="489347" y="192820"/>
                  <a:pt x="407463" y="110937"/>
                </a:cubicBezTo>
                <a:cubicBezTo>
                  <a:pt x="366522" y="69995"/>
                  <a:pt x="312861" y="49525"/>
                  <a:pt x="259200" y="49525"/>
                </a:cubicBezTo>
                <a:close/>
                <a:moveTo>
                  <a:pt x="259200" y="0"/>
                </a:moveTo>
                <a:cubicBezTo>
                  <a:pt x="325536" y="0"/>
                  <a:pt x="391871" y="25306"/>
                  <a:pt x="442483" y="75918"/>
                </a:cubicBezTo>
                <a:cubicBezTo>
                  <a:pt x="543707" y="177141"/>
                  <a:pt x="543707" y="341258"/>
                  <a:pt x="442483" y="442482"/>
                </a:cubicBezTo>
                <a:cubicBezTo>
                  <a:pt x="341259" y="543706"/>
                  <a:pt x="177142" y="543706"/>
                  <a:pt x="75918" y="442482"/>
                </a:cubicBezTo>
                <a:cubicBezTo>
                  <a:pt x="-25306" y="341259"/>
                  <a:pt x="-25306" y="177142"/>
                  <a:pt x="75918" y="75918"/>
                </a:cubicBezTo>
                <a:cubicBezTo>
                  <a:pt x="126530" y="25306"/>
                  <a:pt x="192865" y="0"/>
                  <a:pt x="259200" y="0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28" name="Freihandform: Form 127">
            <a:extLst>
              <a:ext uri="{FF2B5EF4-FFF2-40B4-BE49-F238E27FC236}">
                <a16:creationId xmlns:a16="http://schemas.microsoft.com/office/drawing/2014/main" id="{B796C762-F754-462B-8842-6D77D2D2830F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10235093" y="3789028"/>
            <a:ext cx="432001" cy="432000"/>
          </a:xfrm>
          <a:custGeom>
            <a:avLst/>
            <a:gdLst>
              <a:gd name="connsiteX0" fmla="*/ 281177 w 518401"/>
              <a:gd name="connsiteY0" fmla="*/ 125399 h 518400"/>
              <a:gd name="connsiteX1" fmla="*/ 299994 w 518401"/>
              <a:gd name="connsiteY1" fmla="*/ 133382 h 518400"/>
              <a:gd name="connsiteX2" fmla="*/ 404948 w 518401"/>
              <a:gd name="connsiteY2" fmla="*/ 238167 h 518400"/>
              <a:gd name="connsiteX3" fmla="*/ 404948 w 518401"/>
              <a:gd name="connsiteY3" fmla="*/ 279852 h 518400"/>
              <a:gd name="connsiteX4" fmla="*/ 298845 w 518401"/>
              <a:gd name="connsiteY4" fmla="*/ 385401 h 518400"/>
              <a:gd name="connsiteX5" fmla="*/ 260158 w 518401"/>
              <a:gd name="connsiteY5" fmla="*/ 384254 h 518400"/>
              <a:gd name="connsiteX6" fmla="*/ 262073 w 518401"/>
              <a:gd name="connsiteY6" fmla="*/ 346776 h 518400"/>
              <a:gd name="connsiteX7" fmla="*/ 308421 w 518401"/>
              <a:gd name="connsiteY7" fmla="*/ 300120 h 518400"/>
              <a:gd name="connsiteX8" fmla="*/ 302676 w 518401"/>
              <a:gd name="connsiteY8" fmla="*/ 285588 h 518400"/>
              <a:gd name="connsiteX9" fmla="*/ 129541 w 518401"/>
              <a:gd name="connsiteY9" fmla="*/ 285588 h 518400"/>
              <a:gd name="connsiteX10" fmla="*/ 102728 w 518401"/>
              <a:gd name="connsiteY10" fmla="*/ 257671 h 518400"/>
              <a:gd name="connsiteX11" fmla="*/ 131073 w 518401"/>
              <a:gd name="connsiteY11" fmla="*/ 232048 h 518400"/>
              <a:gd name="connsiteX12" fmla="*/ 302676 w 518401"/>
              <a:gd name="connsiteY12" fmla="*/ 232048 h 518400"/>
              <a:gd name="connsiteX13" fmla="*/ 308421 w 518401"/>
              <a:gd name="connsiteY13" fmla="*/ 217516 h 518400"/>
              <a:gd name="connsiteX14" fmla="*/ 260924 w 518401"/>
              <a:gd name="connsiteY14" fmla="*/ 170095 h 518400"/>
              <a:gd name="connsiteX15" fmla="*/ 262073 w 518401"/>
              <a:gd name="connsiteY15" fmla="*/ 131470 h 518400"/>
              <a:gd name="connsiteX16" fmla="*/ 281177 w 518401"/>
              <a:gd name="connsiteY16" fmla="*/ 125399 h 518400"/>
              <a:gd name="connsiteX17" fmla="*/ 259201 w 518401"/>
              <a:gd name="connsiteY17" fmla="*/ 49525 h 518400"/>
              <a:gd name="connsiteX18" fmla="*/ 49525 w 518401"/>
              <a:gd name="connsiteY18" fmla="*/ 259200 h 518400"/>
              <a:gd name="connsiteX19" fmla="*/ 259201 w 518401"/>
              <a:gd name="connsiteY19" fmla="*/ 468875 h 518400"/>
              <a:gd name="connsiteX20" fmla="*/ 468876 w 518401"/>
              <a:gd name="connsiteY20" fmla="*/ 259200 h 518400"/>
              <a:gd name="connsiteX21" fmla="*/ 259201 w 518401"/>
              <a:gd name="connsiteY21" fmla="*/ 49525 h 518400"/>
              <a:gd name="connsiteX22" fmla="*/ 259201 w 518401"/>
              <a:gd name="connsiteY22" fmla="*/ 0 h 518400"/>
              <a:gd name="connsiteX23" fmla="*/ 518401 w 518401"/>
              <a:gd name="connsiteY23" fmla="*/ 259200 h 518400"/>
              <a:gd name="connsiteX24" fmla="*/ 259201 w 518401"/>
              <a:gd name="connsiteY24" fmla="*/ 518400 h 518400"/>
              <a:gd name="connsiteX25" fmla="*/ 0 w 518401"/>
              <a:gd name="connsiteY25" fmla="*/ 259200 h 518400"/>
              <a:gd name="connsiteX26" fmla="*/ 259201 w 518401"/>
              <a:gd name="connsiteY26" fmla="*/ 0 h 51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18401" h="518400">
                <a:moveTo>
                  <a:pt x="281177" y="125399"/>
                </a:moveTo>
                <a:cubicBezTo>
                  <a:pt x="288024" y="125829"/>
                  <a:pt x="294823" y="128602"/>
                  <a:pt x="299994" y="133382"/>
                </a:cubicBezTo>
                <a:lnTo>
                  <a:pt x="404948" y="238167"/>
                </a:lnTo>
                <a:cubicBezTo>
                  <a:pt x="416439" y="249640"/>
                  <a:pt x="416439" y="268379"/>
                  <a:pt x="404948" y="279852"/>
                </a:cubicBezTo>
                <a:lnTo>
                  <a:pt x="298845" y="385401"/>
                </a:lnTo>
                <a:cubicBezTo>
                  <a:pt x="288120" y="396109"/>
                  <a:pt x="270500" y="395727"/>
                  <a:pt x="260158" y="384254"/>
                </a:cubicBezTo>
                <a:cubicBezTo>
                  <a:pt x="250199" y="373546"/>
                  <a:pt x="251731" y="356719"/>
                  <a:pt x="262073" y="346776"/>
                </a:cubicBezTo>
                <a:lnTo>
                  <a:pt x="308421" y="300120"/>
                </a:lnTo>
                <a:cubicBezTo>
                  <a:pt x="313784" y="294766"/>
                  <a:pt x="309953" y="285588"/>
                  <a:pt x="302676" y="285588"/>
                </a:cubicBezTo>
                <a:lnTo>
                  <a:pt x="129541" y="285588"/>
                </a:lnTo>
                <a:cubicBezTo>
                  <a:pt x="114219" y="285588"/>
                  <a:pt x="101962" y="272968"/>
                  <a:pt x="102728" y="257671"/>
                </a:cubicBezTo>
                <a:cubicBezTo>
                  <a:pt x="103494" y="243139"/>
                  <a:pt x="116518" y="232048"/>
                  <a:pt x="131073" y="232048"/>
                </a:cubicBezTo>
                <a:lnTo>
                  <a:pt x="302676" y="232048"/>
                </a:lnTo>
                <a:cubicBezTo>
                  <a:pt x="309953" y="232048"/>
                  <a:pt x="313784" y="222870"/>
                  <a:pt x="308421" y="217516"/>
                </a:cubicBezTo>
                <a:lnTo>
                  <a:pt x="260924" y="170095"/>
                </a:lnTo>
                <a:cubicBezTo>
                  <a:pt x="250199" y="159387"/>
                  <a:pt x="250582" y="141796"/>
                  <a:pt x="262073" y="131470"/>
                </a:cubicBezTo>
                <a:cubicBezTo>
                  <a:pt x="267435" y="126881"/>
                  <a:pt x="274330" y="124969"/>
                  <a:pt x="281177" y="125399"/>
                </a:cubicBezTo>
                <a:close/>
                <a:moveTo>
                  <a:pt x="259201" y="49525"/>
                </a:moveTo>
                <a:cubicBezTo>
                  <a:pt x="143400" y="49525"/>
                  <a:pt x="49525" y="143400"/>
                  <a:pt x="49525" y="259200"/>
                </a:cubicBezTo>
                <a:cubicBezTo>
                  <a:pt x="49525" y="375000"/>
                  <a:pt x="143400" y="468875"/>
                  <a:pt x="259201" y="468875"/>
                </a:cubicBezTo>
                <a:cubicBezTo>
                  <a:pt x="375001" y="468875"/>
                  <a:pt x="468876" y="375000"/>
                  <a:pt x="468876" y="259200"/>
                </a:cubicBezTo>
                <a:cubicBezTo>
                  <a:pt x="468876" y="143400"/>
                  <a:pt x="375001" y="49525"/>
                  <a:pt x="259201" y="49525"/>
                </a:cubicBezTo>
                <a:close/>
                <a:moveTo>
                  <a:pt x="259201" y="0"/>
                </a:moveTo>
                <a:cubicBezTo>
                  <a:pt x="402353" y="0"/>
                  <a:pt x="518401" y="116048"/>
                  <a:pt x="518401" y="259200"/>
                </a:cubicBezTo>
                <a:cubicBezTo>
                  <a:pt x="518401" y="402352"/>
                  <a:pt x="402353" y="518400"/>
                  <a:pt x="259201" y="518400"/>
                </a:cubicBezTo>
                <a:cubicBezTo>
                  <a:pt x="116048" y="518400"/>
                  <a:pt x="0" y="402352"/>
                  <a:pt x="0" y="259200"/>
                </a:cubicBezTo>
                <a:cubicBezTo>
                  <a:pt x="0" y="116048"/>
                  <a:pt x="116048" y="0"/>
                  <a:pt x="259201" y="0"/>
                </a:cubicBez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dirty="0"/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9B64F51B-07F5-4F65-8F47-17B730317B72}"/>
              </a:ext>
            </a:extLst>
          </p:cNvPr>
          <p:cNvGrpSpPr>
            <a:grpSpLocks noChangeAspect="1"/>
          </p:cNvGrpSpPr>
          <p:nvPr>
            <p:custDataLst>
              <p:tags r:id="rId51"/>
            </p:custDataLst>
          </p:nvPr>
        </p:nvGrpSpPr>
        <p:grpSpPr bwMode="gray">
          <a:xfrm>
            <a:off x="11425587" y="4509000"/>
            <a:ext cx="432000" cy="432000"/>
            <a:chOff x="3076078" y="2420888"/>
            <a:chExt cx="3248952" cy="3248952"/>
          </a:xfrm>
        </p:grpSpPr>
        <p:sp>
          <p:nvSpPr>
            <p:cNvPr id="131" name="Freihandform: Form 130">
              <a:extLst>
                <a:ext uri="{FF2B5EF4-FFF2-40B4-BE49-F238E27FC236}">
                  <a16:creationId xmlns:a16="http://schemas.microsoft.com/office/drawing/2014/main" id="{AF9A3628-65FF-44AC-AC56-6B25DBEF7687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 bwMode="gray">
            <a:xfrm rot="5400000">
              <a:off x="4153350" y="3439323"/>
              <a:ext cx="1322103" cy="1212083"/>
            </a:xfrm>
            <a:custGeom>
              <a:avLst/>
              <a:gdLst>
                <a:gd name="connsiteX0" fmla="*/ 1086013 w 2172450"/>
                <a:gd name="connsiteY0" fmla="*/ 1069014 h 1991670"/>
                <a:gd name="connsiteX1" fmla="*/ 969010 w 2172450"/>
                <a:gd name="connsiteY1" fmla="*/ 1271670 h 1991670"/>
                <a:gd name="connsiteX2" fmla="*/ 1203017 w 2172450"/>
                <a:gd name="connsiteY2" fmla="*/ 1271670 h 1991670"/>
                <a:gd name="connsiteX3" fmla="*/ 1117445 w 2172450"/>
                <a:gd name="connsiteY3" fmla="*/ 896 h 1991670"/>
                <a:gd name="connsiteX4" fmla="*/ 1404159 w 2172450"/>
                <a:gd name="connsiteY4" fmla="*/ 180060 h 1991670"/>
                <a:gd name="connsiteX5" fmla="*/ 2124159 w 2172450"/>
                <a:gd name="connsiteY5" fmla="*/ 1427136 h 1991670"/>
                <a:gd name="connsiteX6" fmla="*/ 2135962 w 2172450"/>
                <a:gd name="connsiteY6" fmla="*/ 1765021 h 1991670"/>
                <a:gd name="connsiteX7" fmla="*/ 2130952 w 2172450"/>
                <a:gd name="connsiteY7" fmla="*/ 1773194 h 1991670"/>
                <a:gd name="connsiteX8" fmla="*/ 2098518 w 2172450"/>
                <a:gd name="connsiteY8" fmla="*/ 1832950 h 1991670"/>
                <a:gd name="connsiteX9" fmla="*/ 1800000 w 2172450"/>
                <a:gd name="connsiteY9" fmla="*/ 1991670 h 1991670"/>
                <a:gd name="connsiteX10" fmla="*/ 360000 w 2172450"/>
                <a:gd name="connsiteY10" fmla="*/ 1991670 h 1991670"/>
                <a:gd name="connsiteX11" fmla="*/ 0 w 2172450"/>
                <a:gd name="connsiteY11" fmla="*/ 1631670 h 1991670"/>
                <a:gd name="connsiteX12" fmla="*/ 658 w 2172450"/>
                <a:gd name="connsiteY12" fmla="*/ 1625148 h 1991670"/>
                <a:gd name="connsiteX13" fmla="*/ 2303 w 2172450"/>
                <a:gd name="connsiteY13" fmla="*/ 1562636 h 1991670"/>
                <a:gd name="connsiteX14" fmla="*/ 47867 w 2172450"/>
                <a:gd name="connsiteY14" fmla="*/ 1427136 h 1991670"/>
                <a:gd name="connsiteX15" fmla="*/ 767867 w 2172450"/>
                <a:gd name="connsiteY15" fmla="*/ 180060 h 1991670"/>
                <a:gd name="connsiteX16" fmla="*/ 1054582 w 2172450"/>
                <a:gd name="connsiteY16" fmla="*/ 896 h 1991670"/>
                <a:gd name="connsiteX17" fmla="*/ 1106721 w 2172450"/>
                <a:gd name="connsiteY17" fmla="*/ 997 h 1991670"/>
                <a:gd name="connsiteX18" fmla="*/ 1107753 w 2172450"/>
                <a:gd name="connsiteY18" fmla="*/ 1151 h 1991670"/>
                <a:gd name="connsiteX0" fmla="*/ 1203017 w 2172450"/>
                <a:gd name="connsiteY0" fmla="*/ 1271670 h 1991670"/>
                <a:gd name="connsiteX1" fmla="*/ 969010 w 2172450"/>
                <a:gd name="connsiteY1" fmla="*/ 1271670 h 1991670"/>
                <a:gd name="connsiteX2" fmla="*/ 1203017 w 2172450"/>
                <a:gd name="connsiteY2" fmla="*/ 1271670 h 1991670"/>
                <a:gd name="connsiteX3" fmla="*/ 1117445 w 2172450"/>
                <a:gd name="connsiteY3" fmla="*/ 896 h 1991670"/>
                <a:gd name="connsiteX4" fmla="*/ 1404159 w 2172450"/>
                <a:gd name="connsiteY4" fmla="*/ 180060 h 1991670"/>
                <a:gd name="connsiteX5" fmla="*/ 2124159 w 2172450"/>
                <a:gd name="connsiteY5" fmla="*/ 1427136 h 1991670"/>
                <a:gd name="connsiteX6" fmla="*/ 2135962 w 2172450"/>
                <a:gd name="connsiteY6" fmla="*/ 1765021 h 1991670"/>
                <a:gd name="connsiteX7" fmla="*/ 2130952 w 2172450"/>
                <a:gd name="connsiteY7" fmla="*/ 1773194 h 1991670"/>
                <a:gd name="connsiteX8" fmla="*/ 2098518 w 2172450"/>
                <a:gd name="connsiteY8" fmla="*/ 1832950 h 1991670"/>
                <a:gd name="connsiteX9" fmla="*/ 1800000 w 2172450"/>
                <a:gd name="connsiteY9" fmla="*/ 1991670 h 1991670"/>
                <a:gd name="connsiteX10" fmla="*/ 360000 w 2172450"/>
                <a:gd name="connsiteY10" fmla="*/ 1991670 h 1991670"/>
                <a:gd name="connsiteX11" fmla="*/ 0 w 2172450"/>
                <a:gd name="connsiteY11" fmla="*/ 1631670 h 1991670"/>
                <a:gd name="connsiteX12" fmla="*/ 658 w 2172450"/>
                <a:gd name="connsiteY12" fmla="*/ 1625148 h 1991670"/>
                <a:gd name="connsiteX13" fmla="*/ 2303 w 2172450"/>
                <a:gd name="connsiteY13" fmla="*/ 1562636 h 1991670"/>
                <a:gd name="connsiteX14" fmla="*/ 47867 w 2172450"/>
                <a:gd name="connsiteY14" fmla="*/ 1427136 h 1991670"/>
                <a:gd name="connsiteX15" fmla="*/ 767867 w 2172450"/>
                <a:gd name="connsiteY15" fmla="*/ 180060 h 1991670"/>
                <a:gd name="connsiteX16" fmla="*/ 1054582 w 2172450"/>
                <a:gd name="connsiteY16" fmla="*/ 896 h 1991670"/>
                <a:gd name="connsiteX17" fmla="*/ 1106721 w 2172450"/>
                <a:gd name="connsiteY17" fmla="*/ 997 h 1991670"/>
                <a:gd name="connsiteX18" fmla="*/ 1107753 w 2172450"/>
                <a:gd name="connsiteY18" fmla="*/ 1151 h 1991670"/>
                <a:gd name="connsiteX19" fmla="*/ 1117445 w 2172450"/>
                <a:gd name="connsiteY19" fmla="*/ 896 h 1991670"/>
                <a:gd name="connsiteX0" fmla="*/ 1117445 w 2172450"/>
                <a:gd name="connsiteY0" fmla="*/ 896 h 1991670"/>
                <a:gd name="connsiteX1" fmla="*/ 1404159 w 2172450"/>
                <a:gd name="connsiteY1" fmla="*/ 180060 h 1991670"/>
                <a:gd name="connsiteX2" fmla="*/ 2124159 w 2172450"/>
                <a:gd name="connsiteY2" fmla="*/ 1427136 h 1991670"/>
                <a:gd name="connsiteX3" fmla="*/ 2135962 w 2172450"/>
                <a:gd name="connsiteY3" fmla="*/ 1765021 h 1991670"/>
                <a:gd name="connsiteX4" fmla="*/ 2130952 w 2172450"/>
                <a:gd name="connsiteY4" fmla="*/ 1773194 h 1991670"/>
                <a:gd name="connsiteX5" fmla="*/ 2098518 w 2172450"/>
                <a:gd name="connsiteY5" fmla="*/ 1832950 h 1991670"/>
                <a:gd name="connsiteX6" fmla="*/ 1800000 w 2172450"/>
                <a:gd name="connsiteY6" fmla="*/ 1991670 h 1991670"/>
                <a:gd name="connsiteX7" fmla="*/ 360000 w 2172450"/>
                <a:gd name="connsiteY7" fmla="*/ 1991670 h 1991670"/>
                <a:gd name="connsiteX8" fmla="*/ 0 w 2172450"/>
                <a:gd name="connsiteY8" fmla="*/ 1631670 h 1991670"/>
                <a:gd name="connsiteX9" fmla="*/ 658 w 2172450"/>
                <a:gd name="connsiteY9" fmla="*/ 1625148 h 1991670"/>
                <a:gd name="connsiteX10" fmla="*/ 2303 w 2172450"/>
                <a:gd name="connsiteY10" fmla="*/ 1562636 h 1991670"/>
                <a:gd name="connsiteX11" fmla="*/ 47867 w 2172450"/>
                <a:gd name="connsiteY11" fmla="*/ 1427136 h 1991670"/>
                <a:gd name="connsiteX12" fmla="*/ 767867 w 2172450"/>
                <a:gd name="connsiteY12" fmla="*/ 180060 h 1991670"/>
                <a:gd name="connsiteX13" fmla="*/ 1054582 w 2172450"/>
                <a:gd name="connsiteY13" fmla="*/ 896 h 1991670"/>
                <a:gd name="connsiteX14" fmla="*/ 1106721 w 2172450"/>
                <a:gd name="connsiteY14" fmla="*/ 997 h 1991670"/>
                <a:gd name="connsiteX15" fmla="*/ 1107753 w 2172450"/>
                <a:gd name="connsiteY15" fmla="*/ 1151 h 1991670"/>
                <a:gd name="connsiteX16" fmla="*/ 1117445 w 2172450"/>
                <a:gd name="connsiteY16" fmla="*/ 896 h 199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72450" h="1991670">
                  <a:moveTo>
                    <a:pt x="1117445" y="896"/>
                  </a:moveTo>
                  <a:cubicBezTo>
                    <a:pt x="1232723" y="9043"/>
                    <a:pt x="1342027" y="72444"/>
                    <a:pt x="1404159" y="180060"/>
                  </a:cubicBezTo>
                  <a:lnTo>
                    <a:pt x="2124159" y="1427136"/>
                  </a:lnTo>
                  <a:cubicBezTo>
                    <a:pt x="2186291" y="1534752"/>
                    <a:pt x="2186546" y="1661113"/>
                    <a:pt x="2135962" y="1765021"/>
                  </a:cubicBezTo>
                  <a:lnTo>
                    <a:pt x="2130952" y="1773194"/>
                  </a:lnTo>
                  <a:lnTo>
                    <a:pt x="2098518" y="1832950"/>
                  </a:lnTo>
                  <a:cubicBezTo>
                    <a:pt x="2033824" y="1928710"/>
                    <a:pt x="1924265" y="1991670"/>
                    <a:pt x="1800000" y="1991670"/>
                  </a:cubicBezTo>
                  <a:lnTo>
                    <a:pt x="360000" y="1991670"/>
                  </a:lnTo>
                  <a:cubicBezTo>
                    <a:pt x="161177" y="1991670"/>
                    <a:pt x="0" y="1830493"/>
                    <a:pt x="0" y="1631670"/>
                  </a:cubicBezTo>
                  <a:cubicBezTo>
                    <a:pt x="219" y="1629496"/>
                    <a:pt x="439" y="1627322"/>
                    <a:pt x="658" y="1625148"/>
                  </a:cubicBezTo>
                  <a:cubicBezTo>
                    <a:pt x="1206" y="1604311"/>
                    <a:pt x="1755" y="1583473"/>
                    <a:pt x="2303" y="1562636"/>
                  </a:cubicBezTo>
                  <a:cubicBezTo>
                    <a:pt x="8062" y="1516228"/>
                    <a:pt x="23014" y="1470183"/>
                    <a:pt x="47867" y="1427136"/>
                  </a:cubicBezTo>
                  <a:lnTo>
                    <a:pt x="767867" y="180060"/>
                  </a:lnTo>
                  <a:cubicBezTo>
                    <a:pt x="829999" y="72444"/>
                    <a:pt x="939303" y="9043"/>
                    <a:pt x="1054582" y="896"/>
                  </a:cubicBezTo>
                  <a:cubicBezTo>
                    <a:pt x="1071874" y="-326"/>
                    <a:pt x="1089300" y="-305"/>
                    <a:pt x="1106721" y="997"/>
                  </a:cubicBezTo>
                  <a:lnTo>
                    <a:pt x="1107753" y="1151"/>
                  </a:lnTo>
                  <a:lnTo>
                    <a:pt x="1117445" y="896"/>
                  </a:lnTo>
                  <a:close/>
                </a:path>
              </a:pathLst>
            </a:cu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de-DE" sz="2000" dirty="0">
                <a:solidFill>
                  <a:schemeClr val="tx1"/>
                </a:solidFill>
              </a:endParaRPr>
            </a:p>
          </p:txBody>
        </p:sp>
        <p:sp>
          <p:nvSpPr>
            <p:cNvPr id="132" name="Oval 18">
              <a:extLst>
                <a:ext uri="{FF2B5EF4-FFF2-40B4-BE49-F238E27FC236}">
                  <a16:creationId xmlns:a16="http://schemas.microsoft.com/office/drawing/2014/main" id="{EEACC672-0191-4146-9E20-F6C9600CFBF1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 bwMode="gray">
            <a:xfrm>
              <a:off x="3076078" y="2420888"/>
              <a:ext cx="3248952" cy="3248952"/>
            </a:xfrm>
            <a:custGeom>
              <a:avLst/>
              <a:gdLst>
                <a:gd name="connsiteX0" fmla="*/ 1932067 w 2758403"/>
                <a:gd name="connsiteY0" fmla="*/ 839566 h 2758400"/>
                <a:gd name="connsiteX1" fmla="*/ 2046021 w 2758403"/>
                <a:gd name="connsiteY1" fmla="*/ 872540 h 2758400"/>
                <a:gd name="connsiteX2" fmla="*/ 2070310 w 2758403"/>
                <a:gd name="connsiteY2" fmla="*/ 1090386 h 2758400"/>
                <a:gd name="connsiteX3" fmla="*/ 1346518 w 2758403"/>
                <a:gd name="connsiteY3" fmla="*/ 1995837 h 2758400"/>
                <a:gd name="connsiteX4" fmla="*/ 1128672 w 2758403"/>
                <a:gd name="connsiteY4" fmla="*/ 2020127 h 2758400"/>
                <a:gd name="connsiteX5" fmla="*/ 1128674 w 2758403"/>
                <a:gd name="connsiteY5" fmla="*/ 2020126 h 2758400"/>
                <a:gd name="connsiteX6" fmla="*/ 1123590 w 2758403"/>
                <a:gd name="connsiteY6" fmla="*/ 2014057 h 2758400"/>
                <a:gd name="connsiteX7" fmla="*/ 1108085 w 2758403"/>
                <a:gd name="connsiteY7" fmla="*/ 2007036 h 2758400"/>
                <a:gd name="connsiteX8" fmla="*/ 717686 w 2758403"/>
                <a:gd name="connsiteY8" fmla="*/ 1725725 h 2758400"/>
                <a:gd name="connsiteX9" fmla="*/ 682786 w 2758403"/>
                <a:gd name="connsiteY9" fmla="*/ 1510833 h 2758400"/>
                <a:gd name="connsiteX10" fmla="*/ 682786 w 2758403"/>
                <a:gd name="connsiteY10" fmla="*/ 1510834 h 2758400"/>
                <a:gd name="connsiteX11" fmla="*/ 897679 w 2758403"/>
                <a:gd name="connsiteY11" fmla="*/ 1475934 h 2758400"/>
                <a:gd name="connsiteX12" fmla="*/ 1828175 w 2758403"/>
                <a:gd name="connsiteY12" fmla="*/ 896830 h 2758400"/>
                <a:gd name="connsiteX13" fmla="*/ 1932067 w 2758403"/>
                <a:gd name="connsiteY13" fmla="*/ 839566 h 2758400"/>
                <a:gd name="connsiteX14" fmla="*/ 1379201 w 2758403"/>
                <a:gd name="connsiteY14" fmla="*/ 263522 h 2758400"/>
                <a:gd name="connsiteX15" fmla="*/ 263521 w 2758403"/>
                <a:gd name="connsiteY15" fmla="*/ 1379199 h 2758400"/>
                <a:gd name="connsiteX16" fmla="*/ 1379201 w 2758403"/>
                <a:gd name="connsiteY16" fmla="*/ 2494876 h 2758400"/>
                <a:gd name="connsiteX17" fmla="*/ 2494881 w 2758403"/>
                <a:gd name="connsiteY17" fmla="*/ 1379199 h 2758400"/>
                <a:gd name="connsiteX18" fmla="*/ 1379201 w 2758403"/>
                <a:gd name="connsiteY18" fmla="*/ 263522 h 2758400"/>
                <a:gd name="connsiteX19" fmla="*/ 1379202 w 2758403"/>
                <a:gd name="connsiteY19" fmla="*/ 0 h 2758400"/>
                <a:gd name="connsiteX20" fmla="*/ 2758403 w 2758403"/>
                <a:gd name="connsiteY20" fmla="*/ 1379200 h 2758400"/>
                <a:gd name="connsiteX21" fmla="*/ 1379202 w 2758403"/>
                <a:gd name="connsiteY21" fmla="*/ 2758400 h 2758400"/>
                <a:gd name="connsiteX22" fmla="*/ 0 w 2758403"/>
                <a:gd name="connsiteY22" fmla="*/ 1379200 h 2758400"/>
                <a:gd name="connsiteX23" fmla="*/ 1379202 w 2758403"/>
                <a:gd name="connsiteY23" fmla="*/ 0 h 2758400"/>
                <a:gd name="connsiteX0" fmla="*/ 1932067 w 2758403"/>
                <a:gd name="connsiteY0" fmla="*/ 839566 h 2758400"/>
                <a:gd name="connsiteX1" fmla="*/ 2046021 w 2758403"/>
                <a:gd name="connsiteY1" fmla="*/ 872540 h 2758400"/>
                <a:gd name="connsiteX2" fmla="*/ 2070310 w 2758403"/>
                <a:gd name="connsiteY2" fmla="*/ 1090386 h 2758400"/>
                <a:gd name="connsiteX3" fmla="*/ 1346518 w 2758403"/>
                <a:gd name="connsiteY3" fmla="*/ 1995837 h 2758400"/>
                <a:gd name="connsiteX4" fmla="*/ 1128672 w 2758403"/>
                <a:gd name="connsiteY4" fmla="*/ 2020127 h 2758400"/>
                <a:gd name="connsiteX5" fmla="*/ 1128674 w 2758403"/>
                <a:gd name="connsiteY5" fmla="*/ 2020126 h 2758400"/>
                <a:gd name="connsiteX6" fmla="*/ 1123590 w 2758403"/>
                <a:gd name="connsiteY6" fmla="*/ 2014057 h 2758400"/>
                <a:gd name="connsiteX7" fmla="*/ 1108085 w 2758403"/>
                <a:gd name="connsiteY7" fmla="*/ 2007036 h 2758400"/>
                <a:gd name="connsiteX8" fmla="*/ 717686 w 2758403"/>
                <a:gd name="connsiteY8" fmla="*/ 1725725 h 2758400"/>
                <a:gd name="connsiteX9" fmla="*/ 682786 w 2758403"/>
                <a:gd name="connsiteY9" fmla="*/ 1510833 h 2758400"/>
                <a:gd name="connsiteX10" fmla="*/ 682786 w 2758403"/>
                <a:gd name="connsiteY10" fmla="*/ 1510834 h 2758400"/>
                <a:gd name="connsiteX11" fmla="*/ 1828175 w 2758403"/>
                <a:gd name="connsiteY11" fmla="*/ 896830 h 2758400"/>
                <a:gd name="connsiteX12" fmla="*/ 1932067 w 2758403"/>
                <a:gd name="connsiteY12" fmla="*/ 839566 h 2758400"/>
                <a:gd name="connsiteX13" fmla="*/ 1379201 w 2758403"/>
                <a:gd name="connsiteY13" fmla="*/ 263522 h 2758400"/>
                <a:gd name="connsiteX14" fmla="*/ 263521 w 2758403"/>
                <a:gd name="connsiteY14" fmla="*/ 1379199 h 2758400"/>
                <a:gd name="connsiteX15" fmla="*/ 1379201 w 2758403"/>
                <a:gd name="connsiteY15" fmla="*/ 2494876 h 2758400"/>
                <a:gd name="connsiteX16" fmla="*/ 2494881 w 2758403"/>
                <a:gd name="connsiteY16" fmla="*/ 1379199 h 2758400"/>
                <a:gd name="connsiteX17" fmla="*/ 1379201 w 2758403"/>
                <a:gd name="connsiteY17" fmla="*/ 263522 h 2758400"/>
                <a:gd name="connsiteX18" fmla="*/ 1379202 w 2758403"/>
                <a:gd name="connsiteY18" fmla="*/ 0 h 2758400"/>
                <a:gd name="connsiteX19" fmla="*/ 2758403 w 2758403"/>
                <a:gd name="connsiteY19" fmla="*/ 1379200 h 2758400"/>
                <a:gd name="connsiteX20" fmla="*/ 1379202 w 2758403"/>
                <a:gd name="connsiteY20" fmla="*/ 2758400 h 2758400"/>
                <a:gd name="connsiteX21" fmla="*/ 0 w 2758403"/>
                <a:gd name="connsiteY21" fmla="*/ 1379200 h 2758400"/>
                <a:gd name="connsiteX22" fmla="*/ 1379202 w 2758403"/>
                <a:gd name="connsiteY22" fmla="*/ 0 h 2758400"/>
                <a:gd name="connsiteX0" fmla="*/ 1932067 w 2758403"/>
                <a:gd name="connsiteY0" fmla="*/ 839566 h 2758400"/>
                <a:gd name="connsiteX1" fmla="*/ 2046021 w 2758403"/>
                <a:gd name="connsiteY1" fmla="*/ 872540 h 2758400"/>
                <a:gd name="connsiteX2" fmla="*/ 2070310 w 2758403"/>
                <a:gd name="connsiteY2" fmla="*/ 1090386 h 2758400"/>
                <a:gd name="connsiteX3" fmla="*/ 1346518 w 2758403"/>
                <a:gd name="connsiteY3" fmla="*/ 1995837 h 2758400"/>
                <a:gd name="connsiteX4" fmla="*/ 1128672 w 2758403"/>
                <a:gd name="connsiteY4" fmla="*/ 2020127 h 2758400"/>
                <a:gd name="connsiteX5" fmla="*/ 1128674 w 2758403"/>
                <a:gd name="connsiteY5" fmla="*/ 2020126 h 2758400"/>
                <a:gd name="connsiteX6" fmla="*/ 1123590 w 2758403"/>
                <a:gd name="connsiteY6" fmla="*/ 2014057 h 2758400"/>
                <a:gd name="connsiteX7" fmla="*/ 1108085 w 2758403"/>
                <a:gd name="connsiteY7" fmla="*/ 2007036 h 2758400"/>
                <a:gd name="connsiteX8" fmla="*/ 717686 w 2758403"/>
                <a:gd name="connsiteY8" fmla="*/ 1725725 h 2758400"/>
                <a:gd name="connsiteX9" fmla="*/ 682786 w 2758403"/>
                <a:gd name="connsiteY9" fmla="*/ 1510833 h 2758400"/>
                <a:gd name="connsiteX10" fmla="*/ 1828175 w 2758403"/>
                <a:gd name="connsiteY10" fmla="*/ 896830 h 2758400"/>
                <a:gd name="connsiteX11" fmla="*/ 1932067 w 2758403"/>
                <a:gd name="connsiteY11" fmla="*/ 839566 h 2758400"/>
                <a:gd name="connsiteX12" fmla="*/ 1379201 w 2758403"/>
                <a:gd name="connsiteY12" fmla="*/ 263522 h 2758400"/>
                <a:gd name="connsiteX13" fmla="*/ 263521 w 2758403"/>
                <a:gd name="connsiteY13" fmla="*/ 1379199 h 2758400"/>
                <a:gd name="connsiteX14" fmla="*/ 1379201 w 2758403"/>
                <a:gd name="connsiteY14" fmla="*/ 2494876 h 2758400"/>
                <a:gd name="connsiteX15" fmla="*/ 2494881 w 2758403"/>
                <a:gd name="connsiteY15" fmla="*/ 1379199 h 2758400"/>
                <a:gd name="connsiteX16" fmla="*/ 1379201 w 2758403"/>
                <a:gd name="connsiteY16" fmla="*/ 263522 h 2758400"/>
                <a:gd name="connsiteX17" fmla="*/ 1379202 w 2758403"/>
                <a:gd name="connsiteY17" fmla="*/ 0 h 2758400"/>
                <a:gd name="connsiteX18" fmla="*/ 2758403 w 2758403"/>
                <a:gd name="connsiteY18" fmla="*/ 1379200 h 2758400"/>
                <a:gd name="connsiteX19" fmla="*/ 1379202 w 2758403"/>
                <a:gd name="connsiteY19" fmla="*/ 2758400 h 2758400"/>
                <a:gd name="connsiteX20" fmla="*/ 0 w 2758403"/>
                <a:gd name="connsiteY20" fmla="*/ 1379200 h 2758400"/>
                <a:gd name="connsiteX21" fmla="*/ 1379202 w 2758403"/>
                <a:gd name="connsiteY21" fmla="*/ 0 h 2758400"/>
                <a:gd name="connsiteX0" fmla="*/ 1932067 w 2758403"/>
                <a:gd name="connsiteY0" fmla="*/ 839566 h 2758400"/>
                <a:gd name="connsiteX1" fmla="*/ 2046021 w 2758403"/>
                <a:gd name="connsiteY1" fmla="*/ 872540 h 2758400"/>
                <a:gd name="connsiteX2" fmla="*/ 2070310 w 2758403"/>
                <a:gd name="connsiteY2" fmla="*/ 1090386 h 2758400"/>
                <a:gd name="connsiteX3" fmla="*/ 1346518 w 2758403"/>
                <a:gd name="connsiteY3" fmla="*/ 1995837 h 2758400"/>
                <a:gd name="connsiteX4" fmla="*/ 1128672 w 2758403"/>
                <a:gd name="connsiteY4" fmla="*/ 2020127 h 2758400"/>
                <a:gd name="connsiteX5" fmla="*/ 1128674 w 2758403"/>
                <a:gd name="connsiteY5" fmla="*/ 2020126 h 2758400"/>
                <a:gd name="connsiteX6" fmla="*/ 1123590 w 2758403"/>
                <a:gd name="connsiteY6" fmla="*/ 2014057 h 2758400"/>
                <a:gd name="connsiteX7" fmla="*/ 1108085 w 2758403"/>
                <a:gd name="connsiteY7" fmla="*/ 2007036 h 2758400"/>
                <a:gd name="connsiteX8" fmla="*/ 682786 w 2758403"/>
                <a:gd name="connsiteY8" fmla="*/ 1510833 h 2758400"/>
                <a:gd name="connsiteX9" fmla="*/ 1828175 w 2758403"/>
                <a:gd name="connsiteY9" fmla="*/ 896830 h 2758400"/>
                <a:gd name="connsiteX10" fmla="*/ 1932067 w 2758403"/>
                <a:gd name="connsiteY10" fmla="*/ 839566 h 2758400"/>
                <a:gd name="connsiteX11" fmla="*/ 1379201 w 2758403"/>
                <a:gd name="connsiteY11" fmla="*/ 263522 h 2758400"/>
                <a:gd name="connsiteX12" fmla="*/ 263521 w 2758403"/>
                <a:gd name="connsiteY12" fmla="*/ 1379199 h 2758400"/>
                <a:gd name="connsiteX13" fmla="*/ 1379201 w 2758403"/>
                <a:gd name="connsiteY13" fmla="*/ 2494876 h 2758400"/>
                <a:gd name="connsiteX14" fmla="*/ 2494881 w 2758403"/>
                <a:gd name="connsiteY14" fmla="*/ 1379199 h 2758400"/>
                <a:gd name="connsiteX15" fmla="*/ 1379201 w 2758403"/>
                <a:gd name="connsiteY15" fmla="*/ 263522 h 2758400"/>
                <a:gd name="connsiteX16" fmla="*/ 1379202 w 2758403"/>
                <a:gd name="connsiteY16" fmla="*/ 0 h 2758400"/>
                <a:gd name="connsiteX17" fmla="*/ 2758403 w 2758403"/>
                <a:gd name="connsiteY17" fmla="*/ 1379200 h 2758400"/>
                <a:gd name="connsiteX18" fmla="*/ 1379202 w 2758403"/>
                <a:gd name="connsiteY18" fmla="*/ 2758400 h 2758400"/>
                <a:gd name="connsiteX19" fmla="*/ 0 w 2758403"/>
                <a:gd name="connsiteY19" fmla="*/ 1379200 h 2758400"/>
                <a:gd name="connsiteX20" fmla="*/ 1379202 w 2758403"/>
                <a:gd name="connsiteY20" fmla="*/ 0 h 2758400"/>
                <a:gd name="connsiteX0" fmla="*/ 1932067 w 2758403"/>
                <a:gd name="connsiteY0" fmla="*/ 839566 h 2758400"/>
                <a:gd name="connsiteX1" fmla="*/ 2046021 w 2758403"/>
                <a:gd name="connsiteY1" fmla="*/ 872540 h 2758400"/>
                <a:gd name="connsiteX2" fmla="*/ 2070310 w 2758403"/>
                <a:gd name="connsiteY2" fmla="*/ 1090386 h 2758400"/>
                <a:gd name="connsiteX3" fmla="*/ 1346518 w 2758403"/>
                <a:gd name="connsiteY3" fmla="*/ 1995837 h 2758400"/>
                <a:gd name="connsiteX4" fmla="*/ 1128672 w 2758403"/>
                <a:gd name="connsiteY4" fmla="*/ 2020127 h 2758400"/>
                <a:gd name="connsiteX5" fmla="*/ 1128674 w 2758403"/>
                <a:gd name="connsiteY5" fmla="*/ 2020126 h 2758400"/>
                <a:gd name="connsiteX6" fmla="*/ 1123590 w 2758403"/>
                <a:gd name="connsiteY6" fmla="*/ 2014057 h 2758400"/>
                <a:gd name="connsiteX7" fmla="*/ 1108085 w 2758403"/>
                <a:gd name="connsiteY7" fmla="*/ 2007036 h 2758400"/>
                <a:gd name="connsiteX8" fmla="*/ 1828175 w 2758403"/>
                <a:gd name="connsiteY8" fmla="*/ 896830 h 2758400"/>
                <a:gd name="connsiteX9" fmla="*/ 1932067 w 2758403"/>
                <a:gd name="connsiteY9" fmla="*/ 839566 h 2758400"/>
                <a:gd name="connsiteX10" fmla="*/ 1379201 w 2758403"/>
                <a:gd name="connsiteY10" fmla="*/ 263522 h 2758400"/>
                <a:gd name="connsiteX11" fmla="*/ 263521 w 2758403"/>
                <a:gd name="connsiteY11" fmla="*/ 1379199 h 2758400"/>
                <a:gd name="connsiteX12" fmla="*/ 1379201 w 2758403"/>
                <a:gd name="connsiteY12" fmla="*/ 2494876 h 2758400"/>
                <a:gd name="connsiteX13" fmla="*/ 2494881 w 2758403"/>
                <a:gd name="connsiteY13" fmla="*/ 1379199 h 2758400"/>
                <a:gd name="connsiteX14" fmla="*/ 1379201 w 2758403"/>
                <a:gd name="connsiteY14" fmla="*/ 263522 h 2758400"/>
                <a:gd name="connsiteX15" fmla="*/ 1379202 w 2758403"/>
                <a:gd name="connsiteY15" fmla="*/ 0 h 2758400"/>
                <a:gd name="connsiteX16" fmla="*/ 2758403 w 2758403"/>
                <a:gd name="connsiteY16" fmla="*/ 1379200 h 2758400"/>
                <a:gd name="connsiteX17" fmla="*/ 1379202 w 2758403"/>
                <a:gd name="connsiteY17" fmla="*/ 2758400 h 2758400"/>
                <a:gd name="connsiteX18" fmla="*/ 0 w 2758403"/>
                <a:gd name="connsiteY18" fmla="*/ 1379200 h 2758400"/>
                <a:gd name="connsiteX19" fmla="*/ 1379202 w 2758403"/>
                <a:gd name="connsiteY19" fmla="*/ 0 h 2758400"/>
                <a:gd name="connsiteX0" fmla="*/ 1932067 w 2758403"/>
                <a:gd name="connsiteY0" fmla="*/ 839566 h 2758400"/>
                <a:gd name="connsiteX1" fmla="*/ 2046021 w 2758403"/>
                <a:gd name="connsiteY1" fmla="*/ 872540 h 2758400"/>
                <a:gd name="connsiteX2" fmla="*/ 2070310 w 2758403"/>
                <a:gd name="connsiteY2" fmla="*/ 1090386 h 2758400"/>
                <a:gd name="connsiteX3" fmla="*/ 1346518 w 2758403"/>
                <a:gd name="connsiteY3" fmla="*/ 1995837 h 2758400"/>
                <a:gd name="connsiteX4" fmla="*/ 1128672 w 2758403"/>
                <a:gd name="connsiteY4" fmla="*/ 2020127 h 2758400"/>
                <a:gd name="connsiteX5" fmla="*/ 1128674 w 2758403"/>
                <a:gd name="connsiteY5" fmla="*/ 2020126 h 2758400"/>
                <a:gd name="connsiteX6" fmla="*/ 1123590 w 2758403"/>
                <a:gd name="connsiteY6" fmla="*/ 2014057 h 2758400"/>
                <a:gd name="connsiteX7" fmla="*/ 1828175 w 2758403"/>
                <a:gd name="connsiteY7" fmla="*/ 896830 h 2758400"/>
                <a:gd name="connsiteX8" fmla="*/ 1932067 w 2758403"/>
                <a:gd name="connsiteY8" fmla="*/ 839566 h 2758400"/>
                <a:gd name="connsiteX9" fmla="*/ 1379201 w 2758403"/>
                <a:gd name="connsiteY9" fmla="*/ 263522 h 2758400"/>
                <a:gd name="connsiteX10" fmla="*/ 263521 w 2758403"/>
                <a:gd name="connsiteY10" fmla="*/ 1379199 h 2758400"/>
                <a:gd name="connsiteX11" fmla="*/ 1379201 w 2758403"/>
                <a:gd name="connsiteY11" fmla="*/ 2494876 h 2758400"/>
                <a:gd name="connsiteX12" fmla="*/ 2494881 w 2758403"/>
                <a:gd name="connsiteY12" fmla="*/ 1379199 h 2758400"/>
                <a:gd name="connsiteX13" fmla="*/ 1379201 w 2758403"/>
                <a:gd name="connsiteY13" fmla="*/ 263522 h 2758400"/>
                <a:gd name="connsiteX14" fmla="*/ 1379202 w 2758403"/>
                <a:gd name="connsiteY14" fmla="*/ 0 h 2758400"/>
                <a:gd name="connsiteX15" fmla="*/ 2758403 w 2758403"/>
                <a:gd name="connsiteY15" fmla="*/ 1379200 h 2758400"/>
                <a:gd name="connsiteX16" fmla="*/ 1379202 w 2758403"/>
                <a:gd name="connsiteY16" fmla="*/ 2758400 h 2758400"/>
                <a:gd name="connsiteX17" fmla="*/ 0 w 2758403"/>
                <a:gd name="connsiteY17" fmla="*/ 1379200 h 2758400"/>
                <a:gd name="connsiteX18" fmla="*/ 1379202 w 2758403"/>
                <a:gd name="connsiteY18" fmla="*/ 0 h 2758400"/>
                <a:gd name="connsiteX0" fmla="*/ 1932067 w 2758403"/>
                <a:gd name="connsiteY0" fmla="*/ 839566 h 2758400"/>
                <a:gd name="connsiteX1" fmla="*/ 2046021 w 2758403"/>
                <a:gd name="connsiteY1" fmla="*/ 872540 h 2758400"/>
                <a:gd name="connsiteX2" fmla="*/ 2070310 w 2758403"/>
                <a:gd name="connsiteY2" fmla="*/ 1090386 h 2758400"/>
                <a:gd name="connsiteX3" fmla="*/ 1346518 w 2758403"/>
                <a:gd name="connsiteY3" fmla="*/ 1995837 h 2758400"/>
                <a:gd name="connsiteX4" fmla="*/ 1128672 w 2758403"/>
                <a:gd name="connsiteY4" fmla="*/ 2020127 h 2758400"/>
                <a:gd name="connsiteX5" fmla="*/ 1128674 w 2758403"/>
                <a:gd name="connsiteY5" fmla="*/ 2020126 h 2758400"/>
                <a:gd name="connsiteX6" fmla="*/ 1828175 w 2758403"/>
                <a:gd name="connsiteY6" fmla="*/ 896830 h 2758400"/>
                <a:gd name="connsiteX7" fmla="*/ 1932067 w 2758403"/>
                <a:gd name="connsiteY7" fmla="*/ 839566 h 2758400"/>
                <a:gd name="connsiteX8" fmla="*/ 1379201 w 2758403"/>
                <a:gd name="connsiteY8" fmla="*/ 263522 h 2758400"/>
                <a:gd name="connsiteX9" fmla="*/ 263521 w 2758403"/>
                <a:gd name="connsiteY9" fmla="*/ 1379199 h 2758400"/>
                <a:gd name="connsiteX10" fmla="*/ 1379201 w 2758403"/>
                <a:gd name="connsiteY10" fmla="*/ 2494876 h 2758400"/>
                <a:gd name="connsiteX11" fmla="*/ 2494881 w 2758403"/>
                <a:gd name="connsiteY11" fmla="*/ 1379199 h 2758400"/>
                <a:gd name="connsiteX12" fmla="*/ 1379201 w 2758403"/>
                <a:gd name="connsiteY12" fmla="*/ 263522 h 2758400"/>
                <a:gd name="connsiteX13" fmla="*/ 1379202 w 2758403"/>
                <a:gd name="connsiteY13" fmla="*/ 0 h 2758400"/>
                <a:gd name="connsiteX14" fmla="*/ 2758403 w 2758403"/>
                <a:gd name="connsiteY14" fmla="*/ 1379200 h 2758400"/>
                <a:gd name="connsiteX15" fmla="*/ 1379202 w 2758403"/>
                <a:gd name="connsiteY15" fmla="*/ 2758400 h 2758400"/>
                <a:gd name="connsiteX16" fmla="*/ 0 w 2758403"/>
                <a:gd name="connsiteY16" fmla="*/ 1379200 h 2758400"/>
                <a:gd name="connsiteX17" fmla="*/ 1379202 w 2758403"/>
                <a:gd name="connsiteY17" fmla="*/ 0 h 2758400"/>
                <a:gd name="connsiteX0" fmla="*/ 1932067 w 2758403"/>
                <a:gd name="connsiteY0" fmla="*/ 839566 h 2758400"/>
                <a:gd name="connsiteX1" fmla="*/ 2046021 w 2758403"/>
                <a:gd name="connsiteY1" fmla="*/ 872540 h 2758400"/>
                <a:gd name="connsiteX2" fmla="*/ 2070310 w 2758403"/>
                <a:gd name="connsiteY2" fmla="*/ 1090386 h 2758400"/>
                <a:gd name="connsiteX3" fmla="*/ 1128672 w 2758403"/>
                <a:gd name="connsiteY3" fmla="*/ 2020127 h 2758400"/>
                <a:gd name="connsiteX4" fmla="*/ 1128674 w 2758403"/>
                <a:gd name="connsiteY4" fmla="*/ 2020126 h 2758400"/>
                <a:gd name="connsiteX5" fmla="*/ 1828175 w 2758403"/>
                <a:gd name="connsiteY5" fmla="*/ 896830 h 2758400"/>
                <a:gd name="connsiteX6" fmla="*/ 1932067 w 2758403"/>
                <a:gd name="connsiteY6" fmla="*/ 839566 h 2758400"/>
                <a:gd name="connsiteX7" fmla="*/ 1379201 w 2758403"/>
                <a:gd name="connsiteY7" fmla="*/ 263522 h 2758400"/>
                <a:gd name="connsiteX8" fmla="*/ 263521 w 2758403"/>
                <a:gd name="connsiteY8" fmla="*/ 1379199 h 2758400"/>
                <a:gd name="connsiteX9" fmla="*/ 1379201 w 2758403"/>
                <a:gd name="connsiteY9" fmla="*/ 2494876 h 2758400"/>
                <a:gd name="connsiteX10" fmla="*/ 2494881 w 2758403"/>
                <a:gd name="connsiteY10" fmla="*/ 1379199 h 2758400"/>
                <a:gd name="connsiteX11" fmla="*/ 1379201 w 2758403"/>
                <a:gd name="connsiteY11" fmla="*/ 263522 h 2758400"/>
                <a:gd name="connsiteX12" fmla="*/ 1379202 w 2758403"/>
                <a:gd name="connsiteY12" fmla="*/ 0 h 2758400"/>
                <a:gd name="connsiteX13" fmla="*/ 2758403 w 2758403"/>
                <a:gd name="connsiteY13" fmla="*/ 1379200 h 2758400"/>
                <a:gd name="connsiteX14" fmla="*/ 1379202 w 2758403"/>
                <a:gd name="connsiteY14" fmla="*/ 2758400 h 2758400"/>
                <a:gd name="connsiteX15" fmla="*/ 0 w 2758403"/>
                <a:gd name="connsiteY15" fmla="*/ 1379200 h 2758400"/>
                <a:gd name="connsiteX16" fmla="*/ 1379202 w 2758403"/>
                <a:gd name="connsiteY16" fmla="*/ 0 h 2758400"/>
                <a:gd name="connsiteX0" fmla="*/ 1932067 w 2758403"/>
                <a:gd name="connsiteY0" fmla="*/ 839566 h 2758400"/>
                <a:gd name="connsiteX1" fmla="*/ 2046021 w 2758403"/>
                <a:gd name="connsiteY1" fmla="*/ 872540 h 2758400"/>
                <a:gd name="connsiteX2" fmla="*/ 2070310 w 2758403"/>
                <a:gd name="connsiteY2" fmla="*/ 1090386 h 2758400"/>
                <a:gd name="connsiteX3" fmla="*/ 1128672 w 2758403"/>
                <a:gd name="connsiteY3" fmla="*/ 2020127 h 2758400"/>
                <a:gd name="connsiteX4" fmla="*/ 1828175 w 2758403"/>
                <a:gd name="connsiteY4" fmla="*/ 896830 h 2758400"/>
                <a:gd name="connsiteX5" fmla="*/ 1932067 w 2758403"/>
                <a:gd name="connsiteY5" fmla="*/ 839566 h 2758400"/>
                <a:gd name="connsiteX6" fmla="*/ 1379201 w 2758403"/>
                <a:gd name="connsiteY6" fmla="*/ 263522 h 2758400"/>
                <a:gd name="connsiteX7" fmla="*/ 263521 w 2758403"/>
                <a:gd name="connsiteY7" fmla="*/ 1379199 h 2758400"/>
                <a:gd name="connsiteX8" fmla="*/ 1379201 w 2758403"/>
                <a:gd name="connsiteY8" fmla="*/ 2494876 h 2758400"/>
                <a:gd name="connsiteX9" fmla="*/ 2494881 w 2758403"/>
                <a:gd name="connsiteY9" fmla="*/ 1379199 h 2758400"/>
                <a:gd name="connsiteX10" fmla="*/ 1379201 w 2758403"/>
                <a:gd name="connsiteY10" fmla="*/ 263522 h 2758400"/>
                <a:gd name="connsiteX11" fmla="*/ 1379202 w 2758403"/>
                <a:gd name="connsiteY11" fmla="*/ 0 h 2758400"/>
                <a:gd name="connsiteX12" fmla="*/ 2758403 w 2758403"/>
                <a:gd name="connsiteY12" fmla="*/ 1379200 h 2758400"/>
                <a:gd name="connsiteX13" fmla="*/ 1379202 w 2758403"/>
                <a:gd name="connsiteY13" fmla="*/ 2758400 h 2758400"/>
                <a:gd name="connsiteX14" fmla="*/ 0 w 2758403"/>
                <a:gd name="connsiteY14" fmla="*/ 1379200 h 2758400"/>
                <a:gd name="connsiteX15" fmla="*/ 1379202 w 2758403"/>
                <a:gd name="connsiteY15" fmla="*/ 0 h 2758400"/>
                <a:gd name="connsiteX0" fmla="*/ 1932067 w 2758403"/>
                <a:gd name="connsiteY0" fmla="*/ 839566 h 2758400"/>
                <a:gd name="connsiteX1" fmla="*/ 2046021 w 2758403"/>
                <a:gd name="connsiteY1" fmla="*/ 872540 h 2758400"/>
                <a:gd name="connsiteX2" fmla="*/ 2070310 w 2758403"/>
                <a:gd name="connsiteY2" fmla="*/ 1090386 h 2758400"/>
                <a:gd name="connsiteX3" fmla="*/ 1128672 w 2758403"/>
                <a:gd name="connsiteY3" fmla="*/ 2020127 h 2758400"/>
                <a:gd name="connsiteX4" fmla="*/ 1932067 w 2758403"/>
                <a:gd name="connsiteY4" fmla="*/ 839566 h 2758400"/>
                <a:gd name="connsiteX5" fmla="*/ 1379201 w 2758403"/>
                <a:gd name="connsiteY5" fmla="*/ 263522 h 2758400"/>
                <a:gd name="connsiteX6" fmla="*/ 263521 w 2758403"/>
                <a:gd name="connsiteY6" fmla="*/ 1379199 h 2758400"/>
                <a:gd name="connsiteX7" fmla="*/ 1379201 w 2758403"/>
                <a:gd name="connsiteY7" fmla="*/ 2494876 h 2758400"/>
                <a:gd name="connsiteX8" fmla="*/ 2494881 w 2758403"/>
                <a:gd name="connsiteY8" fmla="*/ 1379199 h 2758400"/>
                <a:gd name="connsiteX9" fmla="*/ 1379201 w 2758403"/>
                <a:gd name="connsiteY9" fmla="*/ 263522 h 2758400"/>
                <a:gd name="connsiteX10" fmla="*/ 1379202 w 2758403"/>
                <a:gd name="connsiteY10" fmla="*/ 0 h 2758400"/>
                <a:gd name="connsiteX11" fmla="*/ 2758403 w 2758403"/>
                <a:gd name="connsiteY11" fmla="*/ 1379200 h 2758400"/>
                <a:gd name="connsiteX12" fmla="*/ 1379202 w 2758403"/>
                <a:gd name="connsiteY12" fmla="*/ 2758400 h 2758400"/>
                <a:gd name="connsiteX13" fmla="*/ 0 w 2758403"/>
                <a:gd name="connsiteY13" fmla="*/ 1379200 h 2758400"/>
                <a:gd name="connsiteX14" fmla="*/ 1379202 w 2758403"/>
                <a:gd name="connsiteY14" fmla="*/ 0 h 2758400"/>
                <a:gd name="connsiteX0" fmla="*/ 1128672 w 2758403"/>
                <a:gd name="connsiteY0" fmla="*/ 2020127 h 2758400"/>
                <a:gd name="connsiteX1" fmla="*/ 2046021 w 2758403"/>
                <a:gd name="connsiteY1" fmla="*/ 872540 h 2758400"/>
                <a:gd name="connsiteX2" fmla="*/ 2070310 w 2758403"/>
                <a:gd name="connsiteY2" fmla="*/ 1090386 h 2758400"/>
                <a:gd name="connsiteX3" fmla="*/ 1128672 w 2758403"/>
                <a:gd name="connsiteY3" fmla="*/ 2020127 h 2758400"/>
                <a:gd name="connsiteX4" fmla="*/ 1379201 w 2758403"/>
                <a:gd name="connsiteY4" fmla="*/ 263522 h 2758400"/>
                <a:gd name="connsiteX5" fmla="*/ 263521 w 2758403"/>
                <a:gd name="connsiteY5" fmla="*/ 1379199 h 2758400"/>
                <a:gd name="connsiteX6" fmla="*/ 1379201 w 2758403"/>
                <a:gd name="connsiteY6" fmla="*/ 2494876 h 2758400"/>
                <a:gd name="connsiteX7" fmla="*/ 2494881 w 2758403"/>
                <a:gd name="connsiteY7" fmla="*/ 1379199 h 2758400"/>
                <a:gd name="connsiteX8" fmla="*/ 1379201 w 2758403"/>
                <a:gd name="connsiteY8" fmla="*/ 263522 h 2758400"/>
                <a:gd name="connsiteX9" fmla="*/ 1379202 w 2758403"/>
                <a:gd name="connsiteY9" fmla="*/ 0 h 2758400"/>
                <a:gd name="connsiteX10" fmla="*/ 2758403 w 2758403"/>
                <a:gd name="connsiteY10" fmla="*/ 1379200 h 2758400"/>
                <a:gd name="connsiteX11" fmla="*/ 1379202 w 2758403"/>
                <a:gd name="connsiteY11" fmla="*/ 2758400 h 2758400"/>
                <a:gd name="connsiteX12" fmla="*/ 0 w 2758403"/>
                <a:gd name="connsiteY12" fmla="*/ 1379200 h 2758400"/>
                <a:gd name="connsiteX13" fmla="*/ 1379202 w 2758403"/>
                <a:gd name="connsiteY13" fmla="*/ 0 h 2758400"/>
                <a:gd name="connsiteX0" fmla="*/ 1128672 w 2758403"/>
                <a:gd name="connsiteY0" fmla="*/ 2020127 h 2758400"/>
                <a:gd name="connsiteX1" fmla="*/ 2070310 w 2758403"/>
                <a:gd name="connsiteY1" fmla="*/ 1090386 h 2758400"/>
                <a:gd name="connsiteX2" fmla="*/ 1128672 w 2758403"/>
                <a:gd name="connsiteY2" fmla="*/ 2020127 h 2758400"/>
                <a:gd name="connsiteX3" fmla="*/ 1379201 w 2758403"/>
                <a:gd name="connsiteY3" fmla="*/ 263522 h 2758400"/>
                <a:gd name="connsiteX4" fmla="*/ 263521 w 2758403"/>
                <a:gd name="connsiteY4" fmla="*/ 1379199 h 2758400"/>
                <a:gd name="connsiteX5" fmla="*/ 1379201 w 2758403"/>
                <a:gd name="connsiteY5" fmla="*/ 2494876 h 2758400"/>
                <a:gd name="connsiteX6" fmla="*/ 2494881 w 2758403"/>
                <a:gd name="connsiteY6" fmla="*/ 1379199 h 2758400"/>
                <a:gd name="connsiteX7" fmla="*/ 1379201 w 2758403"/>
                <a:gd name="connsiteY7" fmla="*/ 263522 h 2758400"/>
                <a:gd name="connsiteX8" fmla="*/ 1379202 w 2758403"/>
                <a:gd name="connsiteY8" fmla="*/ 0 h 2758400"/>
                <a:gd name="connsiteX9" fmla="*/ 2758403 w 2758403"/>
                <a:gd name="connsiteY9" fmla="*/ 1379200 h 2758400"/>
                <a:gd name="connsiteX10" fmla="*/ 1379202 w 2758403"/>
                <a:gd name="connsiteY10" fmla="*/ 2758400 h 2758400"/>
                <a:gd name="connsiteX11" fmla="*/ 0 w 2758403"/>
                <a:gd name="connsiteY11" fmla="*/ 1379200 h 2758400"/>
                <a:gd name="connsiteX12" fmla="*/ 1379202 w 2758403"/>
                <a:gd name="connsiteY12" fmla="*/ 0 h 2758400"/>
                <a:gd name="connsiteX0" fmla="*/ 1379201 w 2758403"/>
                <a:gd name="connsiteY0" fmla="*/ 263522 h 2758400"/>
                <a:gd name="connsiteX1" fmla="*/ 263521 w 2758403"/>
                <a:gd name="connsiteY1" fmla="*/ 1379199 h 2758400"/>
                <a:gd name="connsiteX2" fmla="*/ 1379201 w 2758403"/>
                <a:gd name="connsiteY2" fmla="*/ 2494876 h 2758400"/>
                <a:gd name="connsiteX3" fmla="*/ 2494881 w 2758403"/>
                <a:gd name="connsiteY3" fmla="*/ 1379199 h 2758400"/>
                <a:gd name="connsiteX4" fmla="*/ 1379201 w 2758403"/>
                <a:gd name="connsiteY4" fmla="*/ 263522 h 2758400"/>
                <a:gd name="connsiteX5" fmla="*/ 1379202 w 2758403"/>
                <a:gd name="connsiteY5" fmla="*/ 0 h 2758400"/>
                <a:gd name="connsiteX6" fmla="*/ 2758403 w 2758403"/>
                <a:gd name="connsiteY6" fmla="*/ 1379200 h 2758400"/>
                <a:gd name="connsiteX7" fmla="*/ 1379202 w 2758403"/>
                <a:gd name="connsiteY7" fmla="*/ 2758400 h 2758400"/>
                <a:gd name="connsiteX8" fmla="*/ 0 w 2758403"/>
                <a:gd name="connsiteY8" fmla="*/ 1379200 h 2758400"/>
                <a:gd name="connsiteX9" fmla="*/ 1379202 w 2758403"/>
                <a:gd name="connsiteY9" fmla="*/ 0 h 2758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58403" h="2758400">
                  <a:moveTo>
                    <a:pt x="1379201" y="263522"/>
                  </a:moveTo>
                  <a:cubicBezTo>
                    <a:pt x="763027" y="263522"/>
                    <a:pt x="263521" y="763027"/>
                    <a:pt x="263521" y="1379199"/>
                  </a:cubicBezTo>
                  <a:cubicBezTo>
                    <a:pt x="263521" y="1995371"/>
                    <a:pt x="763027" y="2494876"/>
                    <a:pt x="1379201" y="2494876"/>
                  </a:cubicBezTo>
                  <a:cubicBezTo>
                    <a:pt x="1995374" y="2494876"/>
                    <a:pt x="2494881" y="1995371"/>
                    <a:pt x="2494881" y="1379199"/>
                  </a:cubicBezTo>
                  <a:cubicBezTo>
                    <a:pt x="2494881" y="763027"/>
                    <a:pt x="1995374" y="263522"/>
                    <a:pt x="1379201" y="263522"/>
                  </a:cubicBezTo>
                  <a:close/>
                  <a:moveTo>
                    <a:pt x="1379202" y="0"/>
                  </a:moveTo>
                  <a:cubicBezTo>
                    <a:pt x="2140914" y="0"/>
                    <a:pt x="2758403" y="617489"/>
                    <a:pt x="2758403" y="1379200"/>
                  </a:cubicBezTo>
                  <a:cubicBezTo>
                    <a:pt x="2758403" y="2140911"/>
                    <a:pt x="2140914" y="2758400"/>
                    <a:pt x="1379202" y="2758400"/>
                  </a:cubicBezTo>
                  <a:cubicBezTo>
                    <a:pt x="617490" y="2758400"/>
                    <a:pt x="0" y="2140911"/>
                    <a:pt x="0" y="1379200"/>
                  </a:cubicBezTo>
                  <a:cubicBezTo>
                    <a:pt x="0" y="617489"/>
                    <a:pt x="617490" y="0"/>
                    <a:pt x="1379202" y="0"/>
                  </a:cubicBezTo>
                  <a:close/>
                </a:path>
              </a:pathLst>
            </a:custGeom>
            <a:solidFill>
              <a:schemeClr val="bg2"/>
            </a:solidFill>
            <a:ln w="3175" cmpd="sng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2"/>
                </a:solidFill>
              </a:endParaRPr>
            </a:p>
          </p:txBody>
        </p:sp>
      </p:grpSp>
      <p:sp>
        <p:nvSpPr>
          <p:cNvPr id="153" name="Freihandform: Form 152">
            <a:extLst>
              <a:ext uri="{FF2B5EF4-FFF2-40B4-BE49-F238E27FC236}">
                <a16:creationId xmlns:a16="http://schemas.microsoft.com/office/drawing/2014/main" id="{EC896F4D-A1DD-4888-9D90-344431DBDEBF}"/>
              </a:ext>
            </a:extLst>
          </p:cNvPr>
          <p:cNvSpPr>
            <a:spLocks noChangeAspect="1"/>
          </p:cNvSpPr>
          <p:nvPr>
            <p:custDataLst>
              <p:tags r:id="rId52"/>
            </p:custDataLst>
          </p:nvPr>
        </p:nvSpPr>
        <p:spPr bwMode="gray">
          <a:xfrm>
            <a:off x="11426227" y="3789028"/>
            <a:ext cx="432000" cy="432000"/>
          </a:xfrm>
          <a:custGeom>
            <a:avLst/>
            <a:gdLst>
              <a:gd name="connsiteX0" fmla="*/ 127727 w 432000"/>
              <a:gd name="connsiteY0" fmla="*/ 233825 h 432000"/>
              <a:gd name="connsiteX1" fmla="*/ 304273 w 432000"/>
              <a:gd name="connsiteY1" fmla="*/ 233825 h 432000"/>
              <a:gd name="connsiteX2" fmla="*/ 327911 w 432000"/>
              <a:gd name="connsiteY2" fmla="*/ 257463 h 432000"/>
              <a:gd name="connsiteX3" fmla="*/ 304273 w 432000"/>
              <a:gd name="connsiteY3" fmla="*/ 281101 h 432000"/>
              <a:gd name="connsiteX4" fmla="*/ 127727 w 432000"/>
              <a:gd name="connsiteY4" fmla="*/ 281101 h 432000"/>
              <a:gd name="connsiteX5" fmla="*/ 104089 w 432000"/>
              <a:gd name="connsiteY5" fmla="*/ 257463 h 432000"/>
              <a:gd name="connsiteX6" fmla="*/ 127727 w 432000"/>
              <a:gd name="connsiteY6" fmla="*/ 233825 h 432000"/>
              <a:gd name="connsiteX7" fmla="*/ 127727 w 432000"/>
              <a:gd name="connsiteY7" fmla="*/ 150900 h 432000"/>
              <a:gd name="connsiteX8" fmla="*/ 304273 w 432000"/>
              <a:gd name="connsiteY8" fmla="*/ 150900 h 432000"/>
              <a:gd name="connsiteX9" fmla="*/ 327911 w 432000"/>
              <a:gd name="connsiteY9" fmla="*/ 174538 h 432000"/>
              <a:gd name="connsiteX10" fmla="*/ 304273 w 432000"/>
              <a:gd name="connsiteY10" fmla="*/ 198176 h 432000"/>
              <a:gd name="connsiteX11" fmla="*/ 127727 w 432000"/>
              <a:gd name="connsiteY11" fmla="*/ 198176 h 432000"/>
              <a:gd name="connsiteX12" fmla="*/ 104089 w 432000"/>
              <a:gd name="connsiteY12" fmla="*/ 174538 h 432000"/>
              <a:gd name="connsiteX13" fmla="*/ 127727 w 432000"/>
              <a:gd name="connsiteY13" fmla="*/ 150900 h 432000"/>
              <a:gd name="connsiteX14" fmla="*/ 216000 w 432000"/>
              <a:gd name="connsiteY14" fmla="*/ 41271 h 432000"/>
              <a:gd name="connsiteX15" fmla="*/ 41271 w 432000"/>
              <a:gd name="connsiteY15" fmla="*/ 216000 h 432000"/>
              <a:gd name="connsiteX16" fmla="*/ 216000 w 432000"/>
              <a:gd name="connsiteY16" fmla="*/ 390729 h 432000"/>
              <a:gd name="connsiteX17" fmla="*/ 390729 w 432000"/>
              <a:gd name="connsiteY17" fmla="*/ 216000 h 432000"/>
              <a:gd name="connsiteX18" fmla="*/ 216000 w 432000"/>
              <a:gd name="connsiteY18" fmla="*/ 41271 h 432000"/>
              <a:gd name="connsiteX19" fmla="*/ 216000 w 432000"/>
              <a:gd name="connsiteY19" fmla="*/ 0 h 432000"/>
              <a:gd name="connsiteX20" fmla="*/ 432000 w 432000"/>
              <a:gd name="connsiteY20" fmla="*/ 216000 h 432000"/>
              <a:gd name="connsiteX21" fmla="*/ 216000 w 432000"/>
              <a:gd name="connsiteY21" fmla="*/ 432000 h 432000"/>
              <a:gd name="connsiteX22" fmla="*/ 0 w 432000"/>
              <a:gd name="connsiteY22" fmla="*/ 216000 h 432000"/>
              <a:gd name="connsiteX23" fmla="*/ 216000 w 432000"/>
              <a:gd name="connsiteY23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32000" h="432000">
                <a:moveTo>
                  <a:pt x="127727" y="233825"/>
                </a:moveTo>
                <a:lnTo>
                  <a:pt x="304273" y="233825"/>
                </a:lnTo>
                <a:cubicBezTo>
                  <a:pt x="317328" y="233825"/>
                  <a:pt x="327911" y="244408"/>
                  <a:pt x="327911" y="257463"/>
                </a:cubicBezTo>
                <a:cubicBezTo>
                  <a:pt x="327911" y="270518"/>
                  <a:pt x="317328" y="281101"/>
                  <a:pt x="304273" y="281101"/>
                </a:cubicBezTo>
                <a:lnTo>
                  <a:pt x="127727" y="281101"/>
                </a:lnTo>
                <a:cubicBezTo>
                  <a:pt x="114672" y="281101"/>
                  <a:pt x="104089" y="270518"/>
                  <a:pt x="104089" y="257463"/>
                </a:cubicBezTo>
                <a:cubicBezTo>
                  <a:pt x="104089" y="244408"/>
                  <a:pt x="114672" y="233825"/>
                  <a:pt x="127727" y="233825"/>
                </a:cubicBezTo>
                <a:close/>
                <a:moveTo>
                  <a:pt x="127727" y="150900"/>
                </a:moveTo>
                <a:lnTo>
                  <a:pt x="304273" y="150900"/>
                </a:lnTo>
                <a:cubicBezTo>
                  <a:pt x="317328" y="150900"/>
                  <a:pt x="327911" y="161483"/>
                  <a:pt x="327911" y="174538"/>
                </a:cubicBezTo>
                <a:cubicBezTo>
                  <a:pt x="327911" y="187593"/>
                  <a:pt x="317328" y="198176"/>
                  <a:pt x="304273" y="198176"/>
                </a:cubicBezTo>
                <a:lnTo>
                  <a:pt x="127727" y="198176"/>
                </a:lnTo>
                <a:cubicBezTo>
                  <a:pt x="114672" y="198176"/>
                  <a:pt x="104089" y="187593"/>
                  <a:pt x="104089" y="174538"/>
                </a:cubicBezTo>
                <a:cubicBezTo>
                  <a:pt x="104089" y="161483"/>
                  <a:pt x="114672" y="150900"/>
                  <a:pt x="127727" y="150900"/>
                </a:cubicBezTo>
                <a:close/>
                <a:moveTo>
                  <a:pt x="216000" y="41271"/>
                </a:moveTo>
                <a:cubicBezTo>
                  <a:pt x="119499" y="41271"/>
                  <a:pt x="41271" y="119500"/>
                  <a:pt x="41271" y="216000"/>
                </a:cubicBezTo>
                <a:cubicBezTo>
                  <a:pt x="41271" y="312500"/>
                  <a:pt x="119499" y="390729"/>
                  <a:pt x="216000" y="390729"/>
                </a:cubicBezTo>
                <a:cubicBezTo>
                  <a:pt x="312500" y="390729"/>
                  <a:pt x="390729" y="312500"/>
                  <a:pt x="390729" y="216000"/>
                </a:cubicBezTo>
                <a:cubicBezTo>
                  <a:pt x="390729" y="119500"/>
                  <a:pt x="312500" y="41271"/>
                  <a:pt x="216000" y="41271"/>
                </a:cubicBezTo>
                <a:close/>
                <a:moveTo>
                  <a:pt x="216000" y="0"/>
                </a:moveTo>
                <a:cubicBezTo>
                  <a:pt x="335294" y="0"/>
                  <a:pt x="432000" y="96707"/>
                  <a:pt x="432000" y="216000"/>
                </a:cubicBezTo>
                <a:cubicBezTo>
                  <a:pt x="432000" y="335294"/>
                  <a:pt x="335294" y="432000"/>
                  <a:pt x="216000" y="432000"/>
                </a:cubicBezTo>
                <a:cubicBezTo>
                  <a:pt x="96707" y="432000"/>
                  <a:pt x="0" y="335294"/>
                  <a:pt x="0" y="216000"/>
                </a:cubicBezTo>
                <a:cubicBezTo>
                  <a:pt x="0" y="96707"/>
                  <a:pt x="96707" y="0"/>
                  <a:pt x="216000" y="0"/>
                </a:cubicBezTo>
                <a:close/>
              </a:path>
            </a:pathLst>
          </a:custGeom>
          <a:solidFill>
            <a:schemeClr val="bg2"/>
          </a:solidFill>
          <a:ln w="317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600" dirty="0">
              <a:solidFill>
                <a:schemeClr val="tx2"/>
              </a:solidFill>
            </a:endParaRPr>
          </a:p>
        </p:txBody>
      </p:sp>
      <p:sp>
        <p:nvSpPr>
          <p:cNvPr id="150" name="Freihandform: Form 149">
            <a:extLst>
              <a:ext uri="{FF2B5EF4-FFF2-40B4-BE49-F238E27FC236}">
                <a16:creationId xmlns:a16="http://schemas.microsoft.com/office/drawing/2014/main" id="{2AD494F5-822C-4FCA-81ED-616E70E2B468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10940430" y="3939928"/>
            <a:ext cx="223822" cy="130201"/>
          </a:xfrm>
          <a:custGeom>
            <a:avLst/>
            <a:gdLst>
              <a:gd name="connsiteX0" fmla="*/ 23638 w 223822"/>
              <a:gd name="connsiteY0" fmla="*/ 82925 h 130201"/>
              <a:gd name="connsiteX1" fmla="*/ 200184 w 223822"/>
              <a:gd name="connsiteY1" fmla="*/ 82925 h 130201"/>
              <a:gd name="connsiteX2" fmla="*/ 223822 w 223822"/>
              <a:gd name="connsiteY2" fmla="*/ 106563 h 130201"/>
              <a:gd name="connsiteX3" fmla="*/ 200184 w 223822"/>
              <a:gd name="connsiteY3" fmla="*/ 130201 h 130201"/>
              <a:gd name="connsiteX4" fmla="*/ 23638 w 223822"/>
              <a:gd name="connsiteY4" fmla="*/ 130201 h 130201"/>
              <a:gd name="connsiteX5" fmla="*/ 0 w 223822"/>
              <a:gd name="connsiteY5" fmla="*/ 106563 h 130201"/>
              <a:gd name="connsiteX6" fmla="*/ 23638 w 223822"/>
              <a:gd name="connsiteY6" fmla="*/ 82925 h 130201"/>
              <a:gd name="connsiteX7" fmla="*/ 23638 w 223822"/>
              <a:gd name="connsiteY7" fmla="*/ 0 h 130201"/>
              <a:gd name="connsiteX8" fmla="*/ 200184 w 223822"/>
              <a:gd name="connsiteY8" fmla="*/ 0 h 130201"/>
              <a:gd name="connsiteX9" fmla="*/ 223822 w 223822"/>
              <a:gd name="connsiteY9" fmla="*/ 23638 h 130201"/>
              <a:gd name="connsiteX10" fmla="*/ 200184 w 223822"/>
              <a:gd name="connsiteY10" fmla="*/ 47276 h 130201"/>
              <a:gd name="connsiteX11" fmla="*/ 23638 w 223822"/>
              <a:gd name="connsiteY11" fmla="*/ 47276 h 130201"/>
              <a:gd name="connsiteX12" fmla="*/ 0 w 223822"/>
              <a:gd name="connsiteY12" fmla="*/ 23638 h 130201"/>
              <a:gd name="connsiteX13" fmla="*/ 23638 w 223822"/>
              <a:gd name="connsiteY13" fmla="*/ 0 h 130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822" h="130201">
                <a:moveTo>
                  <a:pt x="23638" y="82925"/>
                </a:moveTo>
                <a:lnTo>
                  <a:pt x="200184" y="82925"/>
                </a:lnTo>
                <a:cubicBezTo>
                  <a:pt x="213239" y="82925"/>
                  <a:pt x="223822" y="93508"/>
                  <a:pt x="223822" y="106563"/>
                </a:cubicBezTo>
                <a:cubicBezTo>
                  <a:pt x="223822" y="119618"/>
                  <a:pt x="213239" y="130201"/>
                  <a:pt x="200184" y="130201"/>
                </a:cubicBezTo>
                <a:lnTo>
                  <a:pt x="23638" y="130201"/>
                </a:lnTo>
                <a:cubicBezTo>
                  <a:pt x="10583" y="130201"/>
                  <a:pt x="0" y="119618"/>
                  <a:pt x="0" y="106563"/>
                </a:cubicBezTo>
                <a:cubicBezTo>
                  <a:pt x="0" y="93508"/>
                  <a:pt x="10583" y="82925"/>
                  <a:pt x="23638" y="82925"/>
                </a:cubicBezTo>
                <a:close/>
                <a:moveTo>
                  <a:pt x="23638" y="0"/>
                </a:moveTo>
                <a:lnTo>
                  <a:pt x="200184" y="0"/>
                </a:lnTo>
                <a:cubicBezTo>
                  <a:pt x="213239" y="0"/>
                  <a:pt x="223822" y="10583"/>
                  <a:pt x="223822" y="23638"/>
                </a:cubicBezTo>
                <a:cubicBezTo>
                  <a:pt x="223822" y="36693"/>
                  <a:pt x="213239" y="47276"/>
                  <a:pt x="200184" y="47276"/>
                </a:cubicBezTo>
                <a:lnTo>
                  <a:pt x="23638" y="47276"/>
                </a:lnTo>
                <a:cubicBezTo>
                  <a:pt x="10583" y="47276"/>
                  <a:pt x="0" y="36693"/>
                  <a:pt x="0" y="23638"/>
                </a:cubicBezTo>
                <a:cubicBezTo>
                  <a:pt x="0" y="10583"/>
                  <a:pt x="10583" y="0"/>
                  <a:pt x="23638" y="0"/>
                </a:cubicBezTo>
                <a:close/>
              </a:path>
            </a:pathLst>
          </a:cu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47722BB3-78F4-4A74-827C-BB942BD72881}"/>
              </a:ext>
            </a:extLst>
          </p:cNvPr>
          <p:cNvGrpSpPr/>
          <p:nvPr>
            <p:custDataLst>
              <p:tags r:id="rId54"/>
            </p:custDataLst>
          </p:nvPr>
        </p:nvGrpSpPr>
        <p:grpSpPr bwMode="gray">
          <a:xfrm>
            <a:off x="336947" y="5229000"/>
            <a:ext cx="11858228" cy="720955"/>
            <a:chOff x="336947" y="5229000"/>
            <a:chExt cx="11858228" cy="720955"/>
          </a:xfrm>
        </p:grpSpPr>
        <p:grpSp>
          <p:nvGrpSpPr>
            <p:cNvPr id="154" name="Gruppieren 153">
              <a:extLst>
                <a:ext uri="{FF2B5EF4-FFF2-40B4-BE49-F238E27FC236}">
                  <a16:creationId xmlns:a16="http://schemas.microsoft.com/office/drawing/2014/main" id="{BA48A6DA-D89F-474F-BEAA-8CFF39B3B91A}"/>
                </a:ext>
              </a:extLst>
            </p:cNvPr>
            <p:cNvGrpSpPr/>
            <p:nvPr>
              <p:custDataLst>
                <p:tags r:id="rId76"/>
              </p:custDataLst>
            </p:nvPr>
          </p:nvGrpSpPr>
          <p:grpSpPr bwMode="gray">
            <a:xfrm>
              <a:off x="336947" y="5229200"/>
              <a:ext cx="11858228" cy="720755"/>
              <a:chOff x="336947" y="5229200"/>
              <a:chExt cx="11858228" cy="720755"/>
            </a:xfrm>
          </p:grpSpPr>
          <p:grpSp>
            <p:nvGrpSpPr>
              <p:cNvPr id="155" name="Gruppieren 34">
                <a:extLst>
                  <a:ext uri="{FF2B5EF4-FFF2-40B4-BE49-F238E27FC236}">
                    <a16:creationId xmlns:a16="http://schemas.microsoft.com/office/drawing/2014/main" id="{F079C080-1935-4ED6-B069-F3AB3BD121F1}"/>
                  </a:ext>
                </a:extLst>
              </p:cNvPr>
              <p:cNvGrpSpPr/>
              <p:nvPr userDrawn="1">
                <p:custDataLst>
                  <p:tags r:id="rId78"/>
                </p:custDataLst>
              </p:nvPr>
            </p:nvGrpSpPr>
            <p:grpSpPr bwMode="gray">
              <a:xfrm>
                <a:off x="336947" y="5229200"/>
                <a:ext cx="11858228" cy="720755"/>
                <a:chOff x="336947" y="5229200"/>
                <a:chExt cx="11858228" cy="720755"/>
              </a:xfrm>
            </p:grpSpPr>
            <p:sp>
              <p:nvSpPr>
                <p:cNvPr id="157" name="Abgerundetes Rechteck 4">
                  <a:extLst>
                    <a:ext uri="{FF2B5EF4-FFF2-40B4-BE49-F238E27FC236}">
                      <a16:creationId xmlns:a16="http://schemas.microsoft.com/office/drawing/2014/main" id="{8C9067DC-F22F-4E9E-930D-8956121109A8}"/>
                    </a:ext>
                  </a:extLst>
                </p:cNvPr>
                <p:cNvSpPr/>
                <p:nvPr>
                  <p:custDataLst>
                    <p:tags r:id="rId79"/>
                  </p:custDataLst>
                </p:nvPr>
              </p:nvSpPr>
              <p:spPr bwMode="gray">
                <a:xfrm>
                  <a:off x="336947" y="5229200"/>
                  <a:ext cx="11858228" cy="720080"/>
                </a:xfrm>
                <a:prstGeom prst="rect">
                  <a:avLst/>
                </a:prstGeom>
                <a:solidFill>
                  <a:srgbClr val="DDE0E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 dirty="0">
                    <a:solidFill>
                      <a:srgbClr val="4D4D4D"/>
                    </a:solidFill>
                    <a:latin typeface="+mj-lt"/>
                  </a:endParaRPr>
                </a:p>
              </p:txBody>
            </p:sp>
            <p:sp>
              <p:nvSpPr>
                <p:cNvPr id="158" name="Ellipse 38">
                  <a:extLst>
                    <a:ext uri="{FF2B5EF4-FFF2-40B4-BE49-F238E27FC236}">
                      <a16:creationId xmlns:a16="http://schemas.microsoft.com/office/drawing/2014/main" id="{2AB3A762-020C-408C-B0C3-CB6666B8796C}"/>
                    </a:ext>
                  </a:extLst>
                </p:cNvPr>
                <p:cNvSpPr/>
                <p:nvPr/>
              </p:nvSpPr>
              <p:spPr bwMode="gray">
                <a:xfrm>
                  <a:off x="336995" y="5229203"/>
                  <a:ext cx="576000" cy="720752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 dirty="0">
                    <a:solidFill>
                      <a:srgbClr val="4D4D4D"/>
                    </a:solidFill>
                    <a:latin typeface="+mj-lt"/>
                  </a:endParaRPr>
                </a:p>
              </p:txBody>
            </p:sp>
          </p:grpSp>
          <p:sp>
            <p:nvSpPr>
              <p:cNvPr id="156" name="Freeform 7">
                <a:extLst>
                  <a:ext uri="{FF2B5EF4-FFF2-40B4-BE49-F238E27FC236}">
                    <a16:creationId xmlns:a16="http://schemas.microsoft.com/office/drawing/2014/main" id="{4DFF8991-BC12-4090-B8B0-2914644A41EB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516995" y="5409579"/>
                <a:ext cx="216000" cy="360000"/>
              </a:xfrm>
              <a:custGeom>
                <a:avLst/>
                <a:gdLst>
                  <a:gd name="T0" fmla="*/ 648 w 682"/>
                  <a:gd name="T1" fmla="*/ 649 h 1124"/>
                  <a:gd name="T2" fmla="*/ 648 w 682"/>
                  <a:gd name="T3" fmla="*/ 649 h 1124"/>
                  <a:gd name="T4" fmla="*/ 682 w 682"/>
                  <a:gd name="T5" fmla="*/ 567 h 1124"/>
                  <a:gd name="T6" fmla="*/ 648 w 682"/>
                  <a:gd name="T7" fmla="*/ 486 h 1124"/>
                  <a:gd name="T8" fmla="*/ 648 w 682"/>
                  <a:gd name="T9" fmla="*/ 486 h 1124"/>
                  <a:gd name="T10" fmla="*/ 208 w 682"/>
                  <a:gd name="T11" fmla="*/ 45 h 1124"/>
                  <a:gd name="T12" fmla="*/ 44 w 682"/>
                  <a:gd name="T13" fmla="*/ 45 h 1124"/>
                  <a:gd name="T14" fmla="*/ 44 w 682"/>
                  <a:gd name="T15" fmla="*/ 208 h 1124"/>
                  <a:gd name="T16" fmla="*/ 403 w 682"/>
                  <a:gd name="T17" fmla="*/ 567 h 1124"/>
                  <a:gd name="T18" fmla="*/ 44 w 682"/>
                  <a:gd name="T19" fmla="*/ 926 h 1124"/>
                  <a:gd name="T20" fmla="*/ 44 w 682"/>
                  <a:gd name="T21" fmla="*/ 1090 h 1124"/>
                  <a:gd name="T22" fmla="*/ 126 w 682"/>
                  <a:gd name="T23" fmla="*/ 1124 h 1124"/>
                  <a:gd name="T24" fmla="*/ 208 w 682"/>
                  <a:gd name="T25" fmla="*/ 1090 h 1124"/>
                  <a:gd name="T26" fmla="*/ 648 w 682"/>
                  <a:gd name="T27" fmla="*/ 649 h 1124"/>
                  <a:gd name="T28" fmla="*/ 648 w 682"/>
                  <a:gd name="T29" fmla="*/ 649 h 1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82" h="1124">
                    <a:moveTo>
                      <a:pt x="648" y="649"/>
                    </a:moveTo>
                    <a:lnTo>
                      <a:pt x="648" y="649"/>
                    </a:lnTo>
                    <a:cubicBezTo>
                      <a:pt x="671" y="627"/>
                      <a:pt x="682" y="597"/>
                      <a:pt x="682" y="567"/>
                    </a:cubicBezTo>
                    <a:cubicBezTo>
                      <a:pt x="682" y="538"/>
                      <a:pt x="671" y="508"/>
                      <a:pt x="648" y="486"/>
                    </a:cubicBezTo>
                    <a:cubicBezTo>
                      <a:pt x="648" y="486"/>
                      <a:pt x="648" y="486"/>
                      <a:pt x="648" y="486"/>
                    </a:cubicBezTo>
                    <a:lnTo>
                      <a:pt x="208" y="45"/>
                    </a:lnTo>
                    <a:cubicBezTo>
                      <a:pt x="163" y="0"/>
                      <a:pt x="89" y="0"/>
                      <a:pt x="44" y="45"/>
                    </a:cubicBezTo>
                    <a:cubicBezTo>
                      <a:pt x="0" y="90"/>
                      <a:pt x="0" y="163"/>
                      <a:pt x="44" y="208"/>
                    </a:cubicBezTo>
                    <a:lnTo>
                      <a:pt x="403" y="567"/>
                    </a:lnTo>
                    <a:lnTo>
                      <a:pt x="44" y="926"/>
                    </a:lnTo>
                    <a:cubicBezTo>
                      <a:pt x="0" y="971"/>
                      <a:pt x="0" y="1045"/>
                      <a:pt x="44" y="1090"/>
                    </a:cubicBezTo>
                    <a:cubicBezTo>
                      <a:pt x="67" y="1112"/>
                      <a:pt x="96" y="1124"/>
                      <a:pt x="126" y="1124"/>
                    </a:cubicBezTo>
                    <a:cubicBezTo>
                      <a:pt x="156" y="1124"/>
                      <a:pt x="185" y="1112"/>
                      <a:pt x="208" y="1090"/>
                    </a:cubicBezTo>
                    <a:lnTo>
                      <a:pt x="648" y="649"/>
                    </a:lnTo>
                    <a:cubicBezTo>
                      <a:pt x="648" y="649"/>
                      <a:pt x="648" y="649"/>
                      <a:pt x="648" y="649"/>
                    </a:cubicBez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159" name="Textplatzhalter 8">
              <a:extLst>
                <a:ext uri="{FF2B5EF4-FFF2-40B4-BE49-F238E27FC236}">
                  <a16:creationId xmlns:a16="http://schemas.microsoft.com/office/drawing/2014/main" id="{48949AE9-9490-417C-9CA2-8B75CB3FDE6F}"/>
                </a:ext>
              </a:extLst>
            </p:cNvPr>
            <p:cNvSpPr txBox="1">
              <a:spLocks/>
            </p:cNvSpPr>
            <p:nvPr>
              <p:custDataLst>
                <p:tags r:id="rId77"/>
              </p:custDataLst>
            </p:nvPr>
          </p:nvSpPr>
          <p:spPr bwMode="gray">
            <a:xfrm>
              <a:off x="1057587" y="5229000"/>
              <a:ext cx="10800000" cy="7200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de-DE"/>
              </a:defPPr>
              <a:lvl1pPr lvl="0" indent="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b="1" baseline="0">
                  <a:solidFill>
                    <a:srgbClr val="444B52"/>
                  </a:solidFill>
                </a:defRPr>
              </a:lvl1pPr>
              <a:lvl2pPr marL="0" indent="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lang="de-DE" b="0" dirty="0">
                  <a:solidFill>
                    <a:srgbClr val="444B52"/>
                  </a:solidFill>
                </a:defRPr>
              </a:lvl2pPr>
              <a:lvl3pPr marL="0" indent="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lang="de-DE" dirty="0">
                  <a:solidFill>
                    <a:srgbClr val="444B52"/>
                  </a:solidFill>
                </a:defRPr>
              </a:lvl3pPr>
              <a:lvl4pPr marL="0" indent="0"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None/>
                <a:defRPr lang="de-DE" dirty="0">
                  <a:solidFill>
                    <a:srgbClr val="444B52"/>
                  </a:solidFill>
                </a:defRPr>
              </a:lvl4pPr>
              <a:lvl5pPr marL="0" indent="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>
                  <a:solidFill>
                    <a:srgbClr val="444B52"/>
                  </a:solidFill>
                </a:defRPr>
              </a:lvl5pPr>
              <a:lvl6pPr marL="0" indent="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baseline="0">
                  <a:solidFill>
                    <a:srgbClr val="444B52"/>
                  </a:solidFill>
                </a:defRPr>
              </a:lvl6pPr>
              <a:lvl7pPr marL="0" indent="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baseline="0">
                  <a:solidFill>
                    <a:srgbClr val="444B52"/>
                  </a:solidFill>
                </a:defRPr>
              </a:lvl7pPr>
              <a:lvl8pPr marL="0" indent="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baseline="0">
                  <a:solidFill>
                    <a:srgbClr val="444B52"/>
                  </a:solidFill>
                </a:defRPr>
              </a:lvl8pPr>
              <a:lvl9pPr marL="0" indent="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baseline="0">
                  <a:solidFill>
                    <a:srgbClr val="444B52"/>
                  </a:solidFill>
                </a:defRPr>
              </a:lvl9pPr>
            </a:lstStyle>
            <a:p>
              <a:pPr lvl="1"/>
              <a:r>
                <a:rPr lang="de-DE" dirty="0"/>
                <a:t>Nutzen Sie diese Elemente für die Gestaltung Ihrer Präsentation. </a:t>
              </a:r>
              <a:br>
                <a:rPr lang="de-DE" dirty="0"/>
              </a:br>
              <a:r>
                <a:rPr lang="de-DE" dirty="0"/>
                <a:t>Per </a:t>
              </a:r>
              <a:r>
                <a:rPr lang="de-DE" b="1" dirty="0"/>
                <a:t>copy &amp; paste </a:t>
              </a:r>
              <a:r>
                <a:rPr lang="de-DE" dirty="0"/>
                <a:t>können Sie die Elemente anwählen und auf Ihre aktive Folie einfügen</a:t>
              </a:r>
            </a:p>
          </p:txBody>
        </p:sp>
      </p:grpSp>
      <p:sp>
        <p:nvSpPr>
          <p:cNvPr id="161" name="Textplatzhalter 11">
            <a:extLst>
              <a:ext uri="{FF2B5EF4-FFF2-40B4-BE49-F238E27FC236}">
                <a16:creationId xmlns:a16="http://schemas.microsoft.com/office/drawing/2014/main" id="{C4569976-D9B2-4224-BF03-48DF0D720580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 rot="5400000">
            <a:off x="3218624" y="2565000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lIns="0" tIns="0" rIns="36000" bIns="0" anchor="ctr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lang="de-DE"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sz="3600" dirty="0"/>
              <a:t>0</a:t>
            </a:r>
            <a:endParaRPr lang="de-DE" sz="3600" b="1" dirty="0"/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59786D3-0CA9-479D-9F5E-4CC8DB0C90D9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1766954" y="2565000"/>
            <a:ext cx="1080640" cy="1008000"/>
          </a:xfrm>
          <a:custGeom>
            <a:avLst/>
            <a:gdLst>
              <a:gd name="connsiteX0" fmla="*/ 0 w 1080640"/>
              <a:gd name="connsiteY0" fmla="*/ 0 h 936144"/>
              <a:gd name="connsiteX1" fmla="*/ 1080640 w 1080640"/>
              <a:gd name="connsiteY1" fmla="*/ 0 h 936144"/>
              <a:gd name="connsiteX2" fmla="*/ 1080640 w 1080640"/>
              <a:gd name="connsiteY2" fmla="*/ 936144 h 936144"/>
              <a:gd name="connsiteX3" fmla="*/ 0 w 1080640"/>
              <a:gd name="connsiteY3" fmla="*/ 936144 h 936144"/>
              <a:gd name="connsiteX4" fmla="*/ 0 w 1080640"/>
              <a:gd name="connsiteY4" fmla="*/ 0 h 936144"/>
              <a:gd name="connsiteX0" fmla="*/ 1080640 w 1172080"/>
              <a:gd name="connsiteY0" fmla="*/ 936144 h 1027584"/>
              <a:gd name="connsiteX1" fmla="*/ 0 w 1172080"/>
              <a:gd name="connsiteY1" fmla="*/ 936144 h 1027584"/>
              <a:gd name="connsiteX2" fmla="*/ 0 w 1172080"/>
              <a:gd name="connsiteY2" fmla="*/ 0 h 1027584"/>
              <a:gd name="connsiteX3" fmla="*/ 1080640 w 1172080"/>
              <a:gd name="connsiteY3" fmla="*/ 0 h 1027584"/>
              <a:gd name="connsiteX4" fmla="*/ 1172080 w 1172080"/>
              <a:gd name="connsiteY4" fmla="*/ 1027584 h 1027584"/>
              <a:gd name="connsiteX0" fmla="*/ 1080640 w 1080640"/>
              <a:gd name="connsiteY0" fmla="*/ 936144 h 936144"/>
              <a:gd name="connsiteX1" fmla="*/ 0 w 1080640"/>
              <a:gd name="connsiteY1" fmla="*/ 936144 h 936144"/>
              <a:gd name="connsiteX2" fmla="*/ 0 w 1080640"/>
              <a:gd name="connsiteY2" fmla="*/ 0 h 936144"/>
              <a:gd name="connsiteX3" fmla="*/ 1080640 w 1080640"/>
              <a:gd name="connsiteY3" fmla="*/ 0 h 936144"/>
              <a:gd name="connsiteX0" fmla="*/ 0 w 1080640"/>
              <a:gd name="connsiteY0" fmla="*/ 936144 h 936144"/>
              <a:gd name="connsiteX1" fmla="*/ 0 w 1080640"/>
              <a:gd name="connsiteY1" fmla="*/ 0 h 936144"/>
              <a:gd name="connsiteX2" fmla="*/ 1080640 w 1080640"/>
              <a:gd name="connsiteY2" fmla="*/ 0 h 936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80640" h="936144">
                <a:moveTo>
                  <a:pt x="0" y="936144"/>
                </a:moveTo>
                <a:lnTo>
                  <a:pt x="0" y="0"/>
                </a:lnTo>
                <a:lnTo>
                  <a:pt x="1080640" y="0"/>
                </a:lnTo>
              </a:path>
            </a:pathLst>
          </a:cu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63" name="Textplatzhalter 11">
            <a:extLst>
              <a:ext uri="{FF2B5EF4-FFF2-40B4-BE49-F238E27FC236}">
                <a16:creationId xmlns:a16="http://schemas.microsoft.com/office/drawing/2014/main" id="{38D4AE92-6CDC-4484-98AD-F3EAE126513B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 rot="5400000">
            <a:off x="1768631" y="2565000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lIns="0" tIns="0" rIns="36000" bIns="144000" anchor="ctr"/>
          <a:lstStyle>
            <a:defPPr>
              <a:defRPr lang="de-DE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rgbClr val="444B52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rgbClr val="444B52"/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rgbClr val="444B52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4400" b="1">
                <a:solidFill>
                  <a:srgbClr val="444B52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4400" b="1">
                <a:solidFill>
                  <a:srgbClr val="444B52"/>
                </a:solidFill>
              </a:defRPr>
            </a:lvl5pPr>
            <a:lvl6pPr marL="540000" indent="-18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baseline="0">
                <a:solidFill>
                  <a:srgbClr val="444B52"/>
                </a:solidFill>
              </a:defRPr>
            </a:lvl6pPr>
            <a:lvl7pPr marL="540000" indent="-18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baseline="0">
                <a:solidFill>
                  <a:srgbClr val="444B52"/>
                </a:solidFill>
              </a:defRPr>
            </a:lvl7pPr>
            <a:lvl8pPr marL="540000" indent="-18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baseline="0">
                <a:solidFill>
                  <a:srgbClr val="444B52"/>
                </a:solidFill>
              </a:defRPr>
            </a:lvl8pPr>
            <a:lvl9pPr marL="540000" indent="-18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baseline="0">
                <a:solidFill>
                  <a:srgbClr val="444B52"/>
                </a:solidFill>
              </a:defRPr>
            </a:lvl9pPr>
          </a:lstStyle>
          <a:p>
            <a:pPr lvl="0"/>
            <a:r>
              <a:rPr lang="de-DE" sz="36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13C5233-B54C-4292-A043-AEBCC1CFF3D9}"/>
              </a:ext>
            </a:extLst>
          </p:cNvPr>
          <p:cNvSpPr/>
          <p:nvPr>
            <p:custDataLst>
              <p:tags r:id="rId58"/>
            </p:custDataLst>
          </p:nvPr>
        </p:nvSpPr>
        <p:spPr bwMode="gray">
          <a:xfrm>
            <a:off x="1767594" y="3861000"/>
            <a:ext cx="1080000" cy="1008000"/>
          </a:xfrm>
          <a:custGeom>
            <a:avLst/>
            <a:gdLst>
              <a:gd name="connsiteX0" fmla="*/ 0 w 1080000"/>
              <a:gd name="connsiteY0" fmla="*/ 0 h 936144"/>
              <a:gd name="connsiteX1" fmla="*/ 1080000 w 1080000"/>
              <a:gd name="connsiteY1" fmla="*/ 0 h 936144"/>
              <a:gd name="connsiteX2" fmla="*/ 1080000 w 1080000"/>
              <a:gd name="connsiteY2" fmla="*/ 936144 h 936144"/>
              <a:gd name="connsiteX3" fmla="*/ 0 w 1080000"/>
              <a:gd name="connsiteY3" fmla="*/ 936144 h 936144"/>
              <a:gd name="connsiteX4" fmla="*/ 0 w 1080000"/>
              <a:gd name="connsiteY4" fmla="*/ 0 h 936144"/>
              <a:gd name="connsiteX0" fmla="*/ 1080000 w 1171440"/>
              <a:gd name="connsiteY0" fmla="*/ 936144 h 1027584"/>
              <a:gd name="connsiteX1" fmla="*/ 0 w 1171440"/>
              <a:gd name="connsiteY1" fmla="*/ 936144 h 1027584"/>
              <a:gd name="connsiteX2" fmla="*/ 0 w 1171440"/>
              <a:gd name="connsiteY2" fmla="*/ 0 h 1027584"/>
              <a:gd name="connsiteX3" fmla="*/ 1080000 w 1171440"/>
              <a:gd name="connsiteY3" fmla="*/ 0 h 1027584"/>
              <a:gd name="connsiteX4" fmla="*/ 1171440 w 1171440"/>
              <a:gd name="connsiteY4" fmla="*/ 1027584 h 1027584"/>
              <a:gd name="connsiteX0" fmla="*/ 1080000 w 1080000"/>
              <a:gd name="connsiteY0" fmla="*/ 936144 h 936144"/>
              <a:gd name="connsiteX1" fmla="*/ 0 w 1080000"/>
              <a:gd name="connsiteY1" fmla="*/ 936144 h 936144"/>
              <a:gd name="connsiteX2" fmla="*/ 0 w 1080000"/>
              <a:gd name="connsiteY2" fmla="*/ 0 h 936144"/>
              <a:gd name="connsiteX3" fmla="*/ 1080000 w 1080000"/>
              <a:gd name="connsiteY3" fmla="*/ 0 h 936144"/>
              <a:gd name="connsiteX0" fmla="*/ 0 w 1080000"/>
              <a:gd name="connsiteY0" fmla="*/ 936144 h 936144"/>
              <a:gd name="connsiteX1" fmla="*/ 0 w 1080000"/>
              <a:gd name="connsiteY1" fmla="*/ 0 h 936144"/>
              <a:gd name="connsiteX2" fmla="*/ 1080000 w 1080000"/>
              <a:gd name="connsiteY2" fmla="*/ 0 h 936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80000" h="936144">
                <a:moveTo>
                  <a:pt x="0" y="936144"/>
                </a:moveTo>
                <a:lnTo>
                  <a:pt x="0" y="0"/>
                </a:lnTo>
                <a:lnTo>
                  <a:pt x="1080000" y="0"/>
                </a:lnTo>
              </a:path>
            </a:pathLst>
          </a:cu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C0C83EF-ADC5-49CF-A193-30941725E4D1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335910" y="2565000"/>
            <a:ext cx="1080640" cy="1008000"/>
          </a:xfrm>
          <a:prstGeom prst="rect">
            <a:avLst/>
          </a:prstGeom>
          <a:solidFill>
            <a:schemeClr val="bg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71" name="Textplatzhalter 11">
            <a:extLst>
              <a:ext uri="{FF2B5EF4-FFF2-40B4-BE49-F238E27FC236}">
                <a16:creationId xmlns:a16="http://schemas.microsoft.com/office/drawing/2014/main" id="{28D9841C-A825-4626-976B-07543912E509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 rot="5400000">
            <a:off x="337587" y="2565000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2">
                    <a:alpha val="0"/>
                  </a:schemeClr>
                </a:gs>
                <a:gs pos="90000">
                  <a:schemeClr val="tx2"/>
                </a:gs>
              </a:gsLst>
              <a:lin ang="0" scaled="0"/>
              <a:tileRect/>
            </a:gradFill>
          </a:ln>
        </p:spPr>
        <p:txBody>
          <a:bodyPr vert="vert270" lIns="0" tIns="0" rIns="36000" bIns="144000" anchor="ctr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lang="de-DE"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sz="3600" dirty="0">
                <a:solidFill>
                  <a:schemeClr val="tx2"/>
                </a:solidFill>
              </a:rPr>
              <a:t>0</a:t>
            </a:r>
            <a:endParaRPr lang="de-DE" sz="3600" b="1" dirty="0">
              <a:solidFill>
                <a:schemeClr val="tx2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73C93263-688C-4888-8989-1EAFB743EECC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1694954" y="4663633"/>
            <a:ext cx="144000" cy="21600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80000">
                <a:schemeClr val="tx2"/>
              </a:gs>
            </a:gsLst>
            <a:lin ang="5400000" scaled="1"/>
            <a:tileRect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E4ECB19-61D1-4406-B763-682207B8571A}"/>
              </a:ext>
            </a:extLst>
          </p:cNvPr>
          <p:cNvSpPr/>
          <p:nvPr>
            <p:custDataLst>
              <p:tags r:id="rId62"/>
            </p:custDataLst>
          </p:nvPr>
        </p:nvSpPr>
        <p:spPr bwMode="gray">
          <a:xfrm>
            <a:off x="1694954" y="3367633"/>
            <a:ext cx="144000" cy="21600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80000">
                <a:schemeClr val="tx2"/>
              </a:gs>
            </a:gsLst>
            <a:lin ang="5400000" scaled="1"/>
            <a:tileRect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B1FB67BF-A584-459D-9F65-D9A1F80CE51A}"/>
              </a:ext>
            </a:extLst>
          </p:cNvPr>
          <p:cNvSpPr/>
          <p:nvPr>
            <p:custDataLst>
              <p:tags r:id="rId63"/>
            </p:custDataLst>
          </p:nvPr>
        </p:nvSpPr>
        <p:spPr bwMode="gray">
          <a:xfrm rot="16200000">
            <a:off x="2677587" y="3753001"/>
            <a:ext cx="144000" cy="21600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80000">
                <a:schemeClr val="tx2"/>
              </a:gs>
            </a:gsLst>
            <a:lin ang="5400000" scaled="1"/>
            <a:tileRect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910AF1B9-AC92-4EF0-A3D6-F1A37D42BD91}"/>
              </a:ext>
            </a:extLst>
          </p:cNvPr>
          <p:cNvSpPr/>
          <p:nvPr>
            <p:custDataLst>
              <p:tags r:id="rId64"/>
            </p:custDataLst>
          </p:nvPr>
        </p:nvSpPr>
        <p:spPr bwMode="gray">
          <a:xfrm rot="16200000">
            <a:off x="2677587" y="2457001"/>
            <a:ext cx="144000" cy="21600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80000">
                <a:schemeClr val="tx2"/>
              </a:gs>
            </a:gsLst>
            <a:lin ang="5400000" scaled="1"/>
            <a:tileRect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2000" dirty="0">
              <a:solidFill>
                <a:schemeClr val="tx1"/>
              </a:solidFill>
            </a:endParaRPr>
          </a:p>
        </p:txBody>
      </p:sp>
      <p:grpSp>
        <p:nvGrpSpPr>
          <p:cNvPr id="191" name="Gruppieren 190">
            <a:extLst>
              <a:ext uri="{FF2B5EF4-FFF2-40B4-BE49-F238E27FC236}">
                <a16:creationId xmlns:a16="http://schemas.microsoft.com/office/drawing/2014/main" id="{1C36AB73-8369-4944-A30F-CE97C0D3E46A}"/>
              </a:ext>
            </a:extLst>
          </p:cNvPr>
          <p:cNvGrpSpPr/>
          <p:nvPr>
            <p:custDataLst>
              <p:tags r:id="rId65"/>
            </p:custDataLst>
          </p:nvPr>
        </p:nvGrpSpPr>
        <p:grpSpPr bwMode="gray">
          <a:xfrm>
            <a:off x="10561587" y="4365000"/>
            <a:ext cx="720000" cy="720000"/>
            <a:chOff x="9986019" y="1830262"/>
            <a:chExt cx="720000" cy="720000"/>
          </a:xfrm>
        </p:grpSpPr>
        <p:sp>
          <p:nvSpPr>
            <p:cNvPr id="192" name="Rechteck 191">
              <a:extLst>
                <a:ext uri="{FF2B5EF4-FFF2-40B4-BE49-F238E27FC236}">
                  <a16:creationId xmlns:a16="http://schemas.microsoft.com/office/drawing/2014/main" id="{831007FB-FD63-4222-AC50-1B4CA581B785}"/>
                </a:ext>
              </a:extLst>
            </p:cNvPr>
            <p:cNvSpPr/>
            <p:nvPr>
              <p:custDataLst>
                <p:tags r:id="rId74"/>
              </p:custDataLst>
            </p:nvPr>
          </p:nvSpPr>
          <p:spPr bwMode="gray">
            <a:xfrm>
              <a:off x="9986019" y="1830262"/>
              <a:ext cx="720000" cy="720000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de-DE" sz="16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93" name="Gleichschenkliges Dreieck 192">
              <a:extLst>
                <a:ext uri="{FF2B5EF4-FFF2-40B4-BE49-F238E27FC236}">
                  <a16:creationId xmlns:a16="http://schemas.microsoft.com/office/drawing/2014/main" id="{ABF3C287-8092-45DF-ADB9-19331A8A90C7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 bwMode="gray">
            <a:xfrm rot="5400000">
              <a:off x="10157019" y="2082262"/>
              <a:ext cx="378000" cy="216000"/>
            </a:xfrm>
            <a:prstGeom prst="triangl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de-DE" sz="1600" dirty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508EBF45-F9A3-4E7F-801B-983165EB1164}"/>
              </a:ext>
            </a:extLst>
          </p:cNvPr>
          <p:cNvGrpSpPr>
            <a:grpSpLocks noChangeAspect="1"/>
          </p:cNvGrpSpPr>
          <p:nvPr>
            <p:custDataLst>
              <p:tags r:id="rId66"/>
            </p:custDataLst>
          </p:nvPr>
        </p:nvGrpSpPr>
        <p:grpSpPr bwMode="gray">
          <a:xfrm>
            <a:off x="445587" y="3969000"/>
            <a:ext cx="504000" cy="504000"/>
            <a:chOff x="956361" y="1900586"/>
            <a:chExt cx="680476" cy="680476"/>
          </a:xfrm>
        </p:grpSpPr>
        <p:sp>
          <p:nvSpPr>
            <p:cNvPr id="99" name="Abgerundetes Rechteck 145">
              <a:extLst>
                <a:ext uri="{FF2B5EF4-FFF2-40B4-BE49-F238E27FC236}">
                  <a16:creationId xmlns:a16="http://schemas.microsoft.com/office/drawing/2014/main" id="{04CFC049-9990-4BC5-BEFB-980738970690}"/>
                </a:ext>
              </a:extLst>
            </p:cNvPr>
            <p:cNvSpPr/>
            <p:nvPr>
              <p:custDataLst>
                <p:tags r:id="rId73"/>
              </p:custDataLst>
            </p:nvPr>
          </p:nvSpPr>
          <p:spPr bwMode="gray">
            <a:xfrm>
              <a:off x="956361" y="1900586"/>
              <a:ext cx="680476" cy="680476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lIns="90000" tIns="108000" rIns="90000" bIns="46800" rtlCol="0" anchor="t" anchorCtr="0"/>
            <a:lstStyle/>
            <a:p>
              <a:pPr>
                <a:buClr>
                  <a:srgbClr val="FF0000"/>
                </a:buClr>
                <a:buSzPct val="250000"/>
                <a:tabLst>
                  <a:tab pos="90000" algn="l"/>
                </a:tabLst>
              </a:pPr>
              <a:endParaRPr lang="de-DE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2" name="Ellipse 9">
              <a:extLst>
                <a:ext uri="{FF2B5EF4-FFF2-40B4-BE49-F238E27FC236}">
                  <a16:creationId xmlns:a16="http://schemas.microsoft.com/office/drawing/2014/main" id="{260052A7-856B-4B4C-972C-6513E1505BB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110349" y="2018417"/>
              <a:ext cx="372499" cy="461218"/>
            </a:xfrm>
            <a:custGeom>
              <a:avLst/>
              <a:gdLst/>
              <a:ahLst/>
              <a:cxnLst/>
              <a:rect l="l" t="t" r="r" b="b"/>
              <a:pathLst>
                <a:path w="1512000" h="1872112">
                  <a:moveTo>
                    <a:pt x="755868" y="0"/>
                  </a:moveTo>
                  <a:cubicBezTo>
                    <a:pt x="994455" y="0"/>
                    <a:pt x="1187868" y="193413"/>
                    <a:pt x="1187868" y="432000"/>
                  </a:cubicBezTo>
                  <a:cubicBezTo>
                    <a:pt x="1187868" y="602221"/>
                    <a:pt x="1089417" y="749448"/>
                    <a:pt x="945607" y="818335"/>
                  </a:cubicBezTo>
                  <a:cubicBezTo>
                    <a:pt x="1260795" y="895140"/>
                    <a:pt x="1495658" y="1167311"/>
                    <a:pt x="1510228" y="1495401"/>
                  </a:cubicBezTo>
                  <a:cubicBezTo>
                    <a:pt x="1511729" y="1500878"/>
                    <a:pt x="1512000" y="1506480"/>
                    <a:pt x="1512000" y="1512112"/>
                  </a:cubicBezTo>
                  <a:lnTo>
                    <a:pt x="1511391" y="1517862"/>
                  </a:lnTo>
                  <a:cubicBezTo>
                    <a:pt x="1511969" y="1521776"/>
                    <a:pt x="1512000" y="1525705"/>
                    <a:pt x="1512000" y="1529642"/>
                  </a:cubicBezTo>
                  <a:lnTo>
                    <a:pt x="1510141" y="1529642"/>
                  </a:lnTo>
                  <a:cubicBezTo>
                    <a:pt x="1491807" y="1720375"/>
                    <a:pt x="1161115" y="1872112"/>
                    <a:pt x="756000" y="1872112"/>
                  </a:cubicBezTo>
                  <a:cubicBezTo>
                    <a:pt x="350885" y="1872112"/>
                    <a:pt x="20193" y="1720375"/>
                    <a:pt x="1859" y="1529642"/>
                  </a:cubicBezTo>
                  <a:lnTo>
                    <a:pt x="0" y="1529642"/>
                  </a:lnTo>
                  <a:lnTo>
                    <a:pt x="610" y="1517862"/>
                  </a:lnTo>
                  <a:cubicBezTo>
                    <a:pt x="32" y="1515960"/>
                    <a:pt x="0" y="1514038"/>
                    <a:pt x="0" y="1512112"/>
                  </a:cubicBezTo>
                  <a:lnTo>
                    <a:pt x="1772" y="1495401"/>
                  </a:lnTo>
                  <a:cubicBezTo>
                    <a:pt x="16339" y="1167371"/>
                    <a:pt x="251119" y="895240"/>
                    <a:pt x="566222" y="818386"/>
                  </a:cubicBezTo>
                  <a:cubicBezTo>
                    <a:pt x="422363" y="749513"/>
                    <a:pt x="323868" y="602259"/>
                    <a:pt x="323868" y="432000"/>
                  </a:cubicBezTo>
                  <a:cubicBezTo>
                    <a:pt x="323868" y="193413"/>
                    <a:pt x="517281" y="0"/>
                    <a:pt x="755868" y="0"/>
                  </a:cubicBezTo>
                  <a:close/>
                </a:path>
              </a:pathLst>
            </a:cu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104" name="Gruppieren 103">
            <a:extLst>
              <a:ext uri="{FF2B5EF4-FFF2-40B4-BE49-F238E27FC236}">
                <a16:creationId xmlns:a16="http://schemas.microsoft.com/office/drawing/2014/main" id="{D4DAAF5D-7567-4A7D-906F-83553C62F0F0}"/>
              </a:ext>
            </a:extLst>
          </p:cNvPr>
          <p:cNvGrpSpPr>
            <a:grpSpLocks noChangeAspect="1"/>
          </p:cNvGrpSpPr>
          <p:nvPr>
            <p:custDataLst>
              <p:tags r:id="rId67"/>
            </p:custDataLst>
          </p:nvPr>
        </p:nvGrpSpPr>
        <p:grpSpPr bwMode="gray">
          <a:xfrm>
            <a:off x="1876631" y="3969000"/>
            <a:ext cx="504000" cy="504000"/>
            <a:chOff x="956361" y="1900586"/>
            <a:chExt cx="680476" cy="680476"/>
          </a:xfrm>
        </p:grpSpPr>
        <p:sp>
          <p:nvSpPr>
            <p:cNvPr id="105" name="Abgerundetes Rechteck 145">
              <a:extLst>
                <a:ext uri="{FF2B5EF4-FFF2-40B4-BE49-F238E27FC236}">
                  <a16:creationId xmlns:a16="http://schemas.microsoft.com/office/drawing/2014/main" id="{682D2538-D1AF-4098-B0EC-B405495ABCDF}"/>
                </a:ext>
              </a:extLst>
            </p:cNvPr>
            <p:cNvSpPr/>
            <p:nvPr>
              <p:custDataLst>
                <p:tags r:id="rId72"/>
              </p:custDataLst>
            </p:nvPr>
          </p:nvSpPr>
          <p:spPr bwMode="gray">
            <a:xfrm>
              <a:off x="956361" y="1900586"/>
              <a:ext cx="680476" cy="680476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lIns="90000" tIns="108000" rIns="90000" bIns="46800" rtlCol="0" anchor="t" anchorCtr="0"/>
            <a:lstStyle/>
            <a:p>
              <a:pPr>
                <a:buClr>
                  <a:srgbClr val="FF0000"/>
                </a:buClr>
                <a:buSzPct val="250000"/>
                <a:tabLst>
                  <a:tab pos="90000" algn="l"/>
                </a:tabLst>
              </a:pPr>
              <a:endParaRPr lang="de-DE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6" name="Ellipse 9">
              <a:extLst>
                <a:ext uri="{FF2B5EF4-FFF2-40B4-BE49-F238E27FC236}">
                  <a16:creationId xmlns:a16="http://schemas.microsoft.com/office/drawing/2014/main" id="{E4AFE0FD-FAFF-4181-9453-8CFED3AEF20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110349" y="2018417"/>
              <a:ext cx="372499" cy="461218"/>
            </a:xfrm>
            <a:custGeom>
              <a:avLst/>
              <a:gdLst/>
              <a:ahLst/>
              <a:cxnLst/>
              <a:rect l="l" t="t" r="r" b="b"/>
              <a:pathLst>
                <a:path w="1512000" h="1872112">
                  <a:moveTo>
                    <a:pt x="755868" y="0"/>
                  </a:moveTo>
                  <a:cubicBezTo>
                    <a:pt x="994455" y="0"/>
                    <a:pt x="1187868" y="193413"/>
                    <a:pt x="1187868" y="432000"/>
                  </a:cubicBezTo>
                  <a:cubicBezTo>
                    <a:pt x="1187868" y="602221"/>
                    <a:pt x="1089417" y="749448"/>
                    <a:pt x="945607" y="818335"/>
                  </a:cubicBezTo>
                  <a:cubicBezTo>
                    <a:pt x="1260795" y="895140"/>
                    <a:pt x="1495658" y="1167311"/>
                    <a:pt x="1510228" y="1495401"/>
                  </a:cubicBezTo>
                  <a:cubicBezTo>
                    <a:pt x="1511729" y="1500878"/>
                    <a:pt x="1512000" y="1506480"/>
                    <a:pt x="1512000" y="1512112"/>
                  </a:cubicBezTo>
                  <a:lnTo>
                    <a:pt x="1511391" y="1517862"/>
                  </a:lnTo>
                  <a:cubicBezTo>
                    <a:pt x="1511969" y="1521776"/>
                    <a:pt x="1512000" y="1525705"/>
                    <a:pt x="1512000" y="1529642"/>
                  </a:cubicBezTo>
                  <a:lnTo>
                    <a:pt x="1510141" y="1529642"/>
                  </a:lnTo>
                  <a:cubicBezTo>
                    <a:pt x="1491807" y="1720375"/>
                    <a:pt x="1161115" y="1872112"/>
                    <a:pt x="756000" y="1872112"/>
                  </a:cubicBezTo>
                  <a:cubicBezTo>
                    <a:pt x="350885" y="1872112"/>
                    <a:pt x="20193" y="1720375"/>
                    <a:pt x="1859" y="1529642"/>
                  </a:cubicBezTo>
                  <a:lnTo>
                    <a:pt x="0" y="1529642"/>
                  </a:lnTo>
                  <a:lnTo>
                    <a:pt x="610" y="1517862"/>
                  </a:lnTo>
                  <a:cubicBezTo>
                    <a:pt x="32" y="1515960"/>
                    <a:pt x="0" y="1514038"/>
                    <a:pt x="0" y="1512112"/>
                  </a:cubicBezTo>
                  <a:lnTo>
                    <a:pt x="1772" y="1495401"/>
                  </a:lnTo>
                  <a:cubicBezTo>
                    <a:pt x="16339" y="1167371"/>
                    <a:pt x="251119" y="895240"/>
                    <a:pt x="566222" y="818386"/>
                  </a:cubicBezTo>
                  <a:cubicBezTo>
                    <a:pt x="422363" y="749513"/>
                    <a:pt x="323868" y="602259"/>
                    <a:pt x="323868" y="432000"/>
                  </a:cubicBezTo>
                  <a:cubicBezTo>
                    <a:pt x="323868" y="193413"/>
                    <a:pt x="517281" y="0"/>
                    <a:pt x="755868" y="0"/>
                  </a:cubicBezTo>
                  <a:close/>
                </a:path>
              </a:pathLst>
            </a:cu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107" name="Gruppieren 106">
            <a:extLst>
              <a:ext uri="{FF2B5EF4-FFF2-40B4-BE49-F238E27FC236}">
                <a16:creationId xmlns:a16="http://schemas.microsoft.com/office/drawing/2014/main" id="{1857FC35-1FEC-49C2-AE54-FB22EFDE53D3}"/>
              </a:ext>
            </a:extLst>
          </p:cNvPr>
          <p:cNvGrpSpPr>
            <a:grpSpLocks noChangeAspect="1"/>
          </p:cNvGrpSpPr>
          <p:nvPr>
            <p:custDataLst>
              <p:tags r:id="rId68"/>
            </p:custDataLst>
          </p:nvPr>
        </p:nvGrpSpPr>
        <p:grpSpPr bwMode="gray">
          <a:xfrm>
            <a:off x="3326624" y="3969000"/>
            <a:ext cx="504000" cy="504000"/>
            <a:chOff x="956361" y="1900586"/>
            <a:chExt cx="680476" cy="680476"/>
          </a:xfrm>
        </p:grpSpPr>
        <p:sp>
          <p:nvSpPr>
            <p:cNvPr id="108" name="Abgerundetes Rechteck 145">
              <a:extLst>
                <a:ext uri="{FF2B5EF4-FFF2-40B4-BE49-F238E27FC236}">
                  <a16:creationId xmlns:a16="http://schemas.microsoft.com/office/drawing/2014/main" id="{4860079D-88B8-4926-9DAA-81E9F39B637F}"/>
                </a:ext>
              </a:extLst>
            </p:cNvPr>
            <p:cNvSpPr/>
            <p:nvPr>
              <p:custDataLst>
                <p:tags r:id="rId71"/>
              </p:custDataLst>
            </p:nvPr>
          </p:nvSpPr>
          <p:spPr bwMode="gray">
            <a:xfrm>
              <a:off x="956361" y="1900586"/>
              <a:ext cx="680476" cy="680476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lIns="90000" tIns="108000" rIns="90000" bIns="46800" rtlCol="0" anchor="t" anchorCtr="0"/>
            <a:lstStyle/>
            <a:p>
              <a:pPr>
                <a:buClr>
                  <a:srgbClr val="FF0000"/>
                </a:buClr>
                <a:buSzPct val="250000"/>
                <a:tabLst>
                  <a:tab pos="90000" algn="l"/>
                </a:tabLst>
              </a:pPr>
              <a:endParaRPr lang="de-DE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9" name="Ellipse 9">
              <a:extLst>
                <a:ext uri="{FF2B5EF4-FFF2-40B4-BE49-F238E27FC236}">
                  <a16:creationId xmlns:a16="http://schemas.microsoft.com/office/drawing/2014/main" id="{57F927BB-2B44-40A7-ADC1-C9D041A5963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110349" y="2018417"/>
              <a:ext cx="372499" cy="461218"/>
            </a:xfrm>
            <a:custGeom>
              <a:avLst/>
              <a:gdLst/>
              <a:ahLst/>
              <a:cxnLst/>
              <a:rect l="l" t="t" r="r" b="b"/>
              <a:pathLst>
                <a:path w="1512000" h="1872112">
                  <a:moveTo>
                    <a:pt x="755868" y="0"/>
                  </a:moveTo>
                  <a:cubicBezTo>
                    <a:pt x="994455" y="0"/>
                    <a:pt x="1187868" y="193413"/>
                    <a:pt x="1187868" y="432000"/>
                  </a:cubicBezTo>
                  <a:cubicBezTo>
                    <a:pt x="1187868" y="602221"/>
                    <a:pt x="1089417" y="749448"/>
                    <a:pt x="945607" y="818335"/>
                  </a:cubicBezTo>
                  <a:cubicBezTo>
                    <a:pt x="1260795" y="895140"/>
                    <a:pt x="1495658" y="1167311"/>
                    <a:pt x="1510228" y="1495401"/>
                  </a:cubicBezTo>
                  <a:cubicBezTo>
                    <a:pt x="1511729" y="1500878"/>
                    <a:pt x="1512000" y="1506480"/>
                    <a:pt x="1512000" y="1512112"/>
                  </a:cubicBezTo>
                  <a:lnTo>
                    <a:pt x="1511391" y="1517862"/>
                  </a:lnTo>
                  <a:cubicBezTo>
                    <a:pt x="1511969" y="1521776"/>
                    <a:pt x="1512000" y="1525705"/>
                    <a:pt x="1512000" y="1529642"/>
                  </a:cubicBezTo>
                  <a:lnTo>
                    <a:pt x="1510141" y="1529642"/>
                  </a:lnTo>
                  <a:cubicBezTo>
                    <a:pt x="1491807" y="1720375"/>
                    <a:pt x="1161115" y="1872112"/>
                    <a:pt x="756000" y="1872112"/>
                  </a:cubicBezTo>
                  <a:cubicBezTo>
                    <a:pt x="350885" y="1872112"/>
                    <a:pt x="20193" y="1720375"/>
                    <a:pt x="1859" y="1529642"/>
                  </a:cubicBezTo>
                  <a:lnTo>
                    <a:pt x="0" y="1529642"/>
                  </a:lnTo>
                  <a:lnTo>
                    <a:pt x="610" y="1517862"/>
                  </a:lnTo>
                  <a:cubicBezTo>
                    <a:pt x="32" y="1515960"/>
                    <a:pt x="0" y="1514038"/>
                    <a:pt x="0" y="1512112"/>
                  </a:cubicBezTo>
                  <a:lnTo>
                    <a:pt x="1772" y="1495401"/>
                  </a:lnTo>
                  <a:cubicBezTo>
                    <a:pt x="16339" y="1167371"/>
                    <a:pt x="251119" y="895240"/>
                    <a:pt x="566222" y="818386"/>
                  </a:cubicBezTo>
                  <a:cubicBezTo>
                    <a:pt x="422363" y="749513"/>
                    <a:pt x="323868" y="602259"/>
                    <a:pt x="323868" y="432000"/>
                  </a:cubicBezTo>
                  <a:cubicBezTo>
                    <a:pt x="323868" y="193413"/>
                    <a:pt x="517281" y="0"/>
                    <a:pt x="755868" y="0"/>
                  </a:cubicBezTo>
                  <a:close/>
                </a:path>
              </a:pathLst>
            </a:cu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5" name="Grafik 37">
            <a:extLst>
              <a:ext uri="{FF2B5EF4-FFF2-40B4-BE49-F238E27FC236}">
                <a16:creationId xmlns:a16="http://schemas.microsoft.com/office/drawing/2014/main" id="{5DDF8533-B2BF-49AC-B736-83DBC03A93E3}"/>
              </a:ext>
            </a:extLst>
          </p:cNvPr>
          <p:cNvGrpSpPr/>
          <p:nvPr>
            <p:custDataLst>
              <p:tags r:id="rId69"/>
            </p:custDataLst>
          </p:nvPr>
        </p:nvGrpSpPr>
        <p:grpSpPr bwMode="gray">
          <a:xfrm>
            <a:off x="2958913" y="1737000"/>
            <a:ext cx="504000" cy="504000"/>
            <a:chOff x="2922913" y="1773000"/>
            <a:chExt cx="431956" cy="432000"/>
          </a:xfrm>
          <a:solidFill>
            <a:srgbClr val="FFFFFF"/>
          </a:solidFill>
        </p:grpSpPr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88120C4E-62AA-4DC6-85A9-C49E4F621728}"/>
                </a:ext>
              </a:extLst>
            </p:cNvPr>
            <p:cNvSpPr/>
            <p:nvPr/>
          </p:nvSpPr>
          <p:spPr bwMode="gray">
            <a:xfrm>
              <a:off x="3161463" y="2032675"/>
              <a:ext cx="66225" cy="172281"/>
            </a:xfrm>
            <a:custGeom>
              <a:avLst/>
              <a:gdLst>
                <a:gd name="connsiteX0" fmla="*/ 0 w 66225"/>
                <a:gd name="connsiteY0" fmla="*/ 0 h 172281"/>
                <a:gd name="connsiteX1" fmla="*/ 66226 w 66225"/>
                <a:gd name="connsiteY1" fmla="*/ 0 h 172281"/>
                <a:gd name="connsiteX2" fmla="*/ 66226 w 66225"/>
                <a:gd name="connsiteY2" fmla="*/ 172282 h 172281"/>
                <a:gd name="connsiteX3" fmla="*/ 0 w 66225"/>
                <a:gd name="connsiteY3" fmla="*/ 172282 h 172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5" h="172281">
                  <a:moveTo>
                    <a:pt x="0" y="0"/>
                  </a:moveTo>
                  <a:lnTo>
                    <a:pt x="66226" y="0"/>
                  </a:lnTo>
                  <a:lnTo>
                    <a:pt x="66226" y="172282"/>
                  </a:lnTo>
                  <a:lnTo>
                    <a:pt x="0" y="172282"/>
                  </a:lnTo>
                  <a:close/>
                </a:path>
              </a:pathLst>
            </a:custGeom>
            <a:solidFill>
              <a:srgbClr val="FFFFFF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E272E46F-D9E2-46FA-ABC6-F3A702A11491}"/>
                </a:ext>
              </a:extLst>
            </p:cNvPr>
            <p:cNvSpPr/>
            <p:nvPr/>
          </p:nvSpPr>
          <p:spPr bwMode="gray">
            <a:xfrm>
              <a:off x="2922913" y="1773000"/>
              <a:ext cx="431956" cy="432000"/>
            </a:xfrm>
            <a:custGeom>
              <a:avLst/>
              <a:gdLst>
                <a:gd name="connsiteX0" fmla="*/ 340675 w 431956"/>
                <a:gd name="connsiteY0" fmla="*/ 0 h 432000"/>
                <a:gd name="connsiteX1" fmla="*/ 91325 w 431956"/>
                <a:gd name="connsiteY1" fmla="*/ 0 h 432000"/>
                <a:gd name="connsiteX2" fmla="*/ 0 w 431956"/>
                <a:gd name="connsiteY2" fmla="*/ 91325 h 432000"/>
                <a:gd name="connsiteX3" fmla="*/ 0 w 431956"/>
                <a:gd name="connsiteY3" fmla="*/ 340675 h 432000"/>
                <a:gd name="connsiteX4" fmla="*/ 91325 w 431956"/>
                <a:gd name="connsiteY4" fmla="*/ 432000 h 432000"/>
                <a:gd name="connsiteX5" fmla="*/ 182477 w 431956"/>
                <a:gd name="connsiteY5" fmla="*/ 432000 h 432000"/>
                <a:gd name="connsiteX6" fmla="*/ 182477 w 431956"/>
                <a:gd name="connsiteY6" fmla="*/ 259675 h 432000"/>
                <a:gd name="connsiteX7" fmla="*/ 160358 w 431956"/>
                <a:gd name="connsiteY7" fmla="*/ 259675 h 432000"/>
                <a:gd name="connsiteX8" fmla="*/ 160358 w 431956"/>
                <a:gd name="connsiteY8" fmla="*/ 215741 h 432000"/>
                <a:gd name="connsiteX9" fmla="*/ 182563 w 431956"/>
                <a:gd name="connsiteY9" fmla="*/ 215741 h 432000"/>
                <a:gd name="connsiteX10" fmla="*/ 182563 w 431956"/>
                <a:gd name="connsiteY10" fmla="*/ 182909 h 432000"/>
                <a:gd name="connsiteX11" fmla="*/ 251640 w 431956"/>
                <a:gd name="connsiteY11" fmla="*/ 115344 h 432000"/>
                <a:gd name="connsiteX12" fmla="*/ 282139 w 431956"/>
                <a:gd name="connsiteY12" fmla="*/ 117418 h 432000"/>
                <a:gd name="connsiteX13" fmla="*/ 282139 w 431956"/>
                <a:gd name="connsiteY13" fmla="*/ 159062 h 432000"/>
                <a:gd name="connsiteX14" fmla="*/ 267106 w 431956"/>
                <a:gd name="connsiteY14" fmla="*/ 158069 h 432000"/>
                <a:gd name="connsiteX15" fmla="*/ 238205 w 431956"/>
                <a:gd name="connsiteY15" fmla="*/ 189821 h 432000"/>
                <a:gd name="connsiteX16" fmla="*/ 238205 w 431956"/>
                <a:gd name="connsiteY16" fmla="*/ 215698 h 432000"/>
                <a:gd name="connsiteX17" fmla="*/ 360115 w 431956"/>
                <a:gd name="connsiteY17" fmla="*/ 215698 h 432000"/>
                <a:gd name="connsiteX18" fmla="*/ 360115 w 431956"/>
                <a:gd name="connsiteY18" fmla="*/ 429883 h 432000"/>
                <a:gd name="connsiteX19" fmla="*/ 431957 w 431956"/>
                <a:gd name="connsiteY19" fmla="*/ 340675 h 432000"/>
                <a:gd name="connsiteX20" fmla="*/ 431957 w 431956"/>
                <a:gd name="connsiteY20" fmla="*/ 91325 h 432000"/>
                <a:gd name="connsiteX21" fmla="*/ 340675 w 431956"/>
                <a:gd name="connsiteY21" fmla="*/ 0 h 432000"/>
                <a:gd name="connsiteX22" fmla="*/ 333461 w 431956"/>
                <a:gd name="connsiteY22" fmla="*/ 182563 h 432000"/>
                <a:gd name="connsiteX23" fmla="*/ 299851 w 431956"/>
                <a:gd name="connsiteY23" fmla="*/ 148954 h 432000"/>
                <a:gd name="connsiteX24" fmla="*/ 333461 w 431956"/>
                <a:gd name="connsiteY24" fmla="*/ 115344 h 432000"/>
                <a:gd name="connsiteX25" fmla="*/ 367070 w 431956"/>
                <a:gd name="connsiteY25" fmla="*/ 148954 h 432000"/>
                <a:gd name="connsiteX26" fmla="*/ 333461 w 431956"/>
                <a:gd name="connsiteY26" fmla="*/ 182563 h 43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31956" h="432000">
                  <a:moveTo>
                    <a:pt x="340675" y="0"/>
                  </a:moveTo>
                  <a:lnTo>
                    <a:pt x="91325" y="0"/>
                  </a:lnTo>
                  <a:cubicBezTo>
                    <a:pt x="40867" y="0"/>
                    <a:pt x="0" y="40867"/>
                    <a:pt x="0" y="91325"/>
                  </a:cubicBezTo>
                  <a:lnTo>
                    <a:pt x="0" y="340675"/>
                  </a:lnTo>
                  <a:cubicBezTo>
                    <a:pt x="0" y="391090"/>
                    <a:pt x="40867" y="432000"/>
                    <a:pt x="91325" y="432000"/>
                  </a:cubicBezTo>
                  <a:lnTo>
                    <a:pt x="182477" y="432000"/>
                  </a:lnTo>
                  <a:lnTo>
                    <a:pt x="182477" y="259675"/>
                  </a:lnTo>
                  <a:lnTo>
                    <a:pt x="160358" y="259675"/>
                  </a:lnTo>
                  <a:lnTo>
                    <a:pt x="160358" y="215741"/>
                  </a:lnTo>
                  <a:lnTo>
                    <a:pt x="182563" y="215741"/>
                  </a:lnTo>
                  <a:lnTo>
                    <a:pt x="182563" y="182909"/>
                  </a:lnTo>
                  <a:cubicBezTo>
                    <a:pt x="182563" y="137333"/>
                    <a:pt x="209693" y="115344"/>
                    <a:pt x="251640" y="115344"/>
                  </a:cubicBezTo>
                  <a:cubicBezTo>
                    <a:pt x="263434" y="115344"/>
                    <a:pt x="273067" y="116208"/>
                    <a:pt x="282139" y="117418"/>
                  </a:cubicBezTo>
                  <a:lnTo>
                    <a:pt x="282139" y="159062"/>
                  </a:lnTo>
                  <a:cubicBezTo>
                    <a:pt x="277042" y="158501"/>
                    <a:pt x="272462" y="158069"/>
                    <a:pt x="267106" y="158069"/>
                  </a:cubicBezTo>
                  <a:cubicBezTo>
                    <a:pt x="247968" y="158069"/>
                    <a:pt x="238205" y="166190"/>
                    <a:pt x="238205" y="189821"/>
                  </a:cubicBezTo>
                  <a:lnTo>
                    <a:pt x="238205" y="215698"/>
                  </a:lnTo>
                  <a:lnTo>
                    <a:pt x="360115" y="215698"/>
                  </a:lnTo>
                  <a:lnTo>
                    <a:pt x="360115" y="429883"/>
                  </a:lnTo>
                  <a:cubicBezTo>
                    <a:pt x="401198" y="420941"/>
                    <a:pt x="431957" y="384394"/>
                    <a:pt x="431957" y="340675"/>
                  </a:cubicBezTo>
                  <a:lnTo>
                    <a:pt x="431957" y="91325"/>
                  </a:lnTo>
                  <a:cubicBezTo>
                    <a:pt x="432000" y="40867"/>
                    <a:pt x="391133" y="0"/>
                    <a:pt x="340675" y="0"/>
                  </a:cubicBezTo>
                  <a:close/>
                  <a:moveTo>
                    <a:pt x="333461" y="182563"/>
                  </a:moveTo>
                  <a:cubicBezTo>
                    <a:pt x="314885" y="182563"/>
                    <a:pt x="299851" y="167530"/>
                    <a:pt x="299851" y="148954"/>
                  </a:cubicBezTo>
                  <a:cubicBezTo>
                    <a:pt x="299851" y="130378"/>
                    <a:pt x="314885" y="115344"/>
                    <a:pt x="333461" y="115344"/>
                  </a:cubicBezTo>
                  <a:cubicBezTo>
                    <a:pt x="352037" y="115344"/>
                    <a:pt x="367070" y="130378"/>
                    <a:pt x="367070" y="148954"/>
                  </a:cubicBezTo>
                  <a:cubicBezTo>
                    <a:pt x="367070" y="167530"/>
                    <a:pt x="352037" y="182563"/>
                    <a:pt x="333461" y="182563"/>
                  </a:cubicBezTo>
                  <a:close/>
                </a:path>
              </a:pathLst>
            </a:custGeom>
            <a:solidFill>
              <a:srgbClr val="FFFFFF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10" name="Grafik 39">
            <a:extLst>
              <a:ext uri="{FF2B5EF4-FFF2-40B4-BE49-F238E27FC236}">
                <a16:creationId xmlns:a16="http://schemas.microsoft.com/office/drawing/2014/main" id="{A5665DD1-A460-4178-B06C-70DC92DAA06C}"/>
              </a:ext>
            </a:extLst>
          </p:cNvPr>
          <p:cNvGrpSpPr/>
          <p:nvPr>
            <p:custDataLst>
              <p:tags r:id="rId70"/>
            </p:custDataLst>
          </p:nvPr>
        </p:nvGrpSpPr>
        <p:grpSpPr bwMode="gray">
          <a:xfrm>
            <a:off x="3721379" y="1737000"/>
            <a:ext cx="504000" cy="504000"/>
            <a:chOff x="3715001" y="1773000"/>
            <a:chExt cx="431956" cy="432000"/>
          </a:xfrm>
          <a:solidFill>
            <a:srgbClr val="FF0000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158F3D39-2E0E-4AA6-9ED8-71DA1448CAB1}"/>
                </a:ext>
              </a:extLst>
            </p:cNvPr>
            <p:cNvSpPr/>
            <p:nvPr/>
          </p:nvSpPr>
          <p:spPr bwMode="gray">
            <a:xfrm>
              <a:off x="3953551" y="2032675"/>
              <a:ext cx="66225" cy="172281"/>
            </a:xfrm>
            <a:custGeom>
              <a:avLst/>
              <a:gdLst>
                <a:gd name="connsiteX0" fmla="*/ 0 w 66225"/>
                <a:gd name="connsiteY0" fmla="*/ 0 h 172281"/>
                <a:gd name="connsiteX1" fmla="*/ 66226 w 66225"/>
                <a:gd name="connsiteY1" fmla="*/ 0 h 172281"/>
                <a:gd name="connsiteX2" fmla="*/ 66226 w 66225"/>
                <a:gd name="connsiteY2" fmla="*/ 172282 h 172281"/>
                <a:gd name="connsiteX3" fmla="*/ 0 w 66225"/>
                <a:gd name="connsiteY3" fmla="*/ 172282 h 172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5" h="172281">
                  <a:moveTo>
                    <a:pt x="0" y="0"/>
                  </a:moveTo>
                  <a:lnTo>
                    <a:pt x="66226" y="0"/>
                  </a:lnTo>
                  <a:lnTo>
                    <a:pt x="66226" y="172282"/>
                  </a:lnTo>
                  <a:lnTo>
                    <a:pt x="0" y="172282"/>
                  </a:lnTo>
                  <a:close/>
                </a:path>
              </a:pathLst>
            </a:custGeom>
            <a:solidFill>
              <a:srgbClr val="FF0000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9EC82181-0640-4D78-94E6-3B1746FD43F5}"/>
                </a:ext>
              </a:extLst>
            </p:cNvPr>
            <p:cNvSpPr/>
            <p:nvPr/>
          </p:nvSpPr>
          <p:spPr bwMode="gray">
            <a:xfrm>
              <a:off x="3715001" y="1773000"/>
              <a:ext cx="431956" cy="432000"/>
            </a:xfrm>
            <a:custGeom>
              <a:avLst/>
              <a:gdLst>
                <a:gd name="connsiteX0" fmla="*/ 340675 w 431956"/>
                <a:gd name="connsiteY0" fmla="*/ 0 h 432000"/>
                <a:gd name="connsiteX1" fmla="*/ 91325 w 431956"/>
                <a:gd name="connsiteY1" fmla="*/ 0 h 432000"/>
                <a:gd name="connsiteX2" fmla="*/ 0 w 431956"/>
                <a:gd name="connsiteY2" fmla="*/ 91325 h 432000"/>
                <a:gd name="connsiteX3" fmla="*/ 0 w 431956"/>
                <a:gd name="connsiteY3" fmla="*/ 340675 h 432000"/>
                <a:gd name="connsiteX4" fmla="*/ 91325 w 431956"/>
                <a:gd name="connsiteY4" fmla="*/ 432000 h 432000"/>
                <a:gd name="connsiteX5" fmla="*/ 182477 w 431956"/>
                <a:gd name="connsiteY5" fmla="*/ 432000 h 432000"/>
                <a:gd name="connsiteX6" fmla="*/ 182477 w 431956"/>
                <a:gd name="connsiteY6" fmla="*/ 259675 h 432000"/>
                <a:gd name="connsiteX7" fmla="*/ 160358 w 431956"/>
                <a:gd name="connsiteY7" fmla="*/ 259675 h 432000"/>
                <a:gd name="connsiteX8" fmla="*/ 160358 w 431956"/>
                <a:gd name="connsiteY8" fmla="*/ 215741 h 432000"/>
                <a:gd name="connsiteX9" fmla="*/ 182563 w 431956"/>
                <a:gd name="connsiteY9" fmla="*/ 215741 h 432000"/>
                <a:gd name="connsiteX10" fmla="*/ 182563 w 431956"/>
                <a:gd name="connsiteY10" fmla="*/ 182909 h 432000"/>
                <a:gd name="connsiteX11" fmla="*/ 251640 w 431956"/>
                <a:gd name="connsiteY11" fmla="*/ 115344 h 432000"/>
                <a:gd name="connsiteX12" fmla="*/ 282139 w 431956"/>
                <a:gd name="connsiteY12" fmla="*/ 117418 h 432000"/>
                <a:gd name="connsiteX13" fmla="*/ 282139 w 431956"/>
                <a:gd name="connsiteY13" fmla="*/ 159062 h 432000"/>
                <a:gd name="connsiteX14" fmla="*/ 267106 w 431956"/>
                <a:gd name="connsiteY14" fmla="*/ 158069 h 432000"/>
                <a:gd name="connsiteX15" fmla="*/ 238205 w 431956"/>
                <a:gd name="connsiteY15" fmla="*/ 189821 h 432000"/>
                <a:gd name="connsiteX16" fmla="*/ 238205 w 431956"/>
                <a:gd name="connsiteY16" fmla="*/ 215698 h 432000"/>
                <a:gd name="connsiteX17" fmla="*/ 360115 w 431956"/>
                <a:gd name="connsiteY17" fmla="*/ 215698 h 432000"/>
                <a:gd name="connsiteX18" fmla="*/ 360115 w 431956"/>
                <a:gd name="connsiteY18" fmla="*/ 429883 h 432000"/>
                <a:gd name="connsiteX19" fmla="*/ 431957 w 431956"/>
                <a:gd name="connsiteY19" fmla="*/ 340675 h 432000"/>
                <a:gd name="connsiteX20" fmla="*/ 431957 w 431956"/>
                <a:gd name="connsiteY20" fmla="*/ 91325 h 432000"/>
                <a:gd name="connsiteX21" fmla="*/ 340675 w 431956"/>
                <a:gd name="connsiteY21" fmla="*/ 0 h 432000"/>
                <a:gd name="connsiteX22" fmla="*/ 333461 w 431956"/>
                <a:gd name="connsiteY22" fmla="*/ 182563 h 432000"/>
                <a:gd name="connsiteX23" fmla="*/ 299851 w 431956"/>
                <a:gd name="connsiteY23" fmla="*/ 148954 h 432000"/>
                <a:gd name="connsiteX24" fmla="*/ 333461 w 431956"/>
                <a:gd name="connsiteY24" fmla="*/ 115344 h 432000"/>
                <a:gd name="connsiteX25" fmla="*/ 367070 w 431956"/>
                <a:gd name="connsiteY25" fmla="*/ 148954 h 432000"/>
                <a:gd name="connsiteX26" fmla="*/ 333461 w 431956"/>
                <a:gd name="connsiteY26" fmla="*/ 182563 h 43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31956" h="432000">
                  <a:moveTo>
                    <a:pt x="340675" y="0"/>
                  </a:moveTo>
                  <a:lnTo>
                    <a:pt x="91325" y="0"/>
                  </a:lnTo>
                  <a:cubicBezTo>
                    <a:pt x="40867" y="0"/>
                    <a:pt x="0" y="40867"/>
                    <a:pt x="0" y="91325"/>
                  </a:cubicBezTo>
                  <a:lnTo>
                    <a:pt x="0" y="340675"/>
                  </a:lnTo>
                  <a:cubicBezTo>
                    <a:pt x="0" y="391090"/>
                    <a:pt x="40867" y="432000"/>
                    <a:pt x="91325" y="432000"/>
                  </a:cubicBezTo>
                  <a:lnTo>
                    <a:pt x="182477" y="432000"/>
                  </a:lnTo>
                  <a:lnTo>
                    <a:pt x="182477" y="259675"/>
                  </a:lnTo>
                  <a:lnTo>
                    <a:pt x="160358" y="259675"/>
                  </a:lnTo>
                  <a:lnTo>
                    <a:pt x="160358" y="215741"/>
                  </a:lnTo>
                  <a:lnTo>
                    <a:pt x="182563" y="215741"/>
                  </a:lnTo>
                  <a:lnTo>
                    <a:pt x="182563" y="182909"/>
                  </a:lnTo>
                  <a:cubicBezTo>
                    <a:pt x="182563" y="137333"/>
                    <a:pt x="209693" y="115344"/>
                    <a:pt x="251640" y="115344"/>
                  </a:cubicBezTo>
                  <a:cubicBezTo>
                    <a:pt x="263434" y="115344"/>
                    <a:pt x="273067" y="116208"/>
                    <a:pt x="282139" y="117418"/>
                  </a:cubicBezTo>
                  <a:lnTo>
                    <a:pt x="282139" y="159062"/>
                  </a:lnTo>
                  <a:cubicBezTo>
                    <a:pt x="277042" y="158501"/>
                    <a:pt x="272462" y="158069"/>
                    <a:pt x="267106" y="158069"/>
                  </a:cubicBezTo>
                  <a:cubicBezTo>
                    <a:pt x="247968" y="158069"/>
                    <a:pt x="238205" y="166190"/>
                    <a:pt x="238205" y="189821"/>
                  </a:cubicBezTo>
                  <a:lnTo>
                    <a:pt x="238205" y="215698"/>
                  </a:lnTo>
                  <a:lnTo>
                    <a:pt x="360115" y="215698"/>
                  </a:lnTo>
                  <a:lnTo>
                    <a:pt x="360115" y="429883"/>
                  </a:lnTo>
                  <a:cubicBezTo>
                    <a:pt x="401198" y="420941"/>
                    <a:pt x="431957" y="384394"/>
                    <a:pt x="431957" y="340675"/>
                  </a:cubicBezTo>
                  <a:lnTo>
                    <a:pt x="431957" y="91325"/>
                  </a:lnTo>
                  <a:cubicBezTo>
                    <a:pt x="432000" y="40867"/>
                    <a:pt x="391133" y="0"/>
                    <a:pt x="340675" y="0"/>
                  </a:cubicBezTo>
                  <a:close/>
                  <a:moveTo>
                    <a:pt x="333461" y="182563"/>
                  </a:moveTo>
                  <a:cubicBezTo>
                    <a:pt x="314885" y="182563"/>
                    <a:pt x="299851" y="167530"/>
                    <a:pt x="299851" y="148954"/>
                  </a:cubicBezTo>
                  <a:cubicBezTo>
                    <a:pt x="299851" y="130378"/>
                    <a:pt x="314885" y="115344"/>
                    <a:pt x="333461" y="115344"/>
                  </a:cubicBezTo>
                  <a:cubicBezTo>
                    <a:pt x="352037" y="115344"/>
                    <a:pt x="367070" y="130378"/>
                    <a:pt x="367070" y="148954"/>
                  </a:cubicBezTo>
                  <a:cubicBezTo>
                    <a:pt x="367070" y="167530"/>
                    <a:pt x="352037" y="182563"/>
                    <a:pt x="333461" y="182563"/>
                  </a:cubicBezTo>
                  <a:close/>
                </a:path>
              </a:pathLst>
            </a:custGeom>
            <a:solidFill>
              <a:srgbClr val="FF0000"/>
            </a:solidFill>
            <a:ln w="4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72E9A2-6424-4FB5-B855-9429340ACEED}"/>
              </a:ext>
            </a:extLst>
          </p:cNvPr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fld id="{E8A59628-86E5-4E65-AA00-235A504422B5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E33CF5-AB66-4B6B-94D7-F89BEAC079F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 algn="l"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22600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1A43B2C6-50DF-4244-AFC0-9FA369E4BB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3311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6" name="think-cell Folie" r:id="rId21" imgW="359" imgH="358" progId="TCLayout.ActiveDocument.1">
                  <p:embed/>
                </p:oleObj>
              </mc:Choice>
              <mc:Fallback>
                <p:oleObj name="think-cell Folie" r:id="rId21" imgW="359" imgH="358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1A43B2C6-50DF-4244-AFC0-9FA369E4BB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825A1382-D0B2-44F4-905E-BDFFE308EA0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289587" y="3861000"/>
            <a:ext cx="2592000" cy="2088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</a:ln>
        </p:spPr>
        <p:txBody>
          <a:bodyPr vert="horz" lIns="144000" tIns="1008000" rIns="144000" bIns="144000" rtlCol="0">
            <a:no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spcAft>
                <a:spcPts val="400"/>
              </a:spcAft>
              <a:buFont typeface="Arial" pitchFamily="34" charset="0"/>
              <a:buNone/>
              <a:defRPr sz="20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spcAft>
                <a:spcPts val="400"/>
              </a:spcAft>
              <a:buFont typeface="Arial" pitchFamily="34" charset="0"/>
              <a:buNone/>
              <a:defRPr lang="de-DE" sz="1800" b="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180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Tx/>
              <a:buFont typeface="Arial" panose="020B0604020202020204" pitchFamily="34" charset="0"/>
              <a:buChar char="-"/>
              <a:defRPr lang="de-DE" sz="180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6pPr>
            <a:lvl7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2"/>
                </a:solidFill>
                <a:latin typeface="+mj-lt"/>
              </a:rPr>
              <a:t>Graue Fläche mit Nummerierung/</a:t>
            </a:r>
            <a:br>
              <a:rPr lang="de-DE" dirty="0">
                <a:solidFill>
                  <a:schemeClr val="tx2"/>
                </a:solidFill>
                <a:latin typeface="+mj-lt"/>
              </a:rPr>
            </a:br>
            <a:r>
              <a:rPr lang="de-DE" dirty="0">
                <a:solidFill>
                  <a:schemeClr val="tx2"/>
                </a:solidFill>
                <a:latin typeface="+mj-lt"/>
              </a:rPr>
              <a:t>Icon</a:t>
            </a:r>
          </a:p>
        </p:txBody>
      </p:sp>
      <p:sp>
        <p:nvSpPr>
          <p:cNvPr id="25" name="Textplatzhalter 11">
            <a:extLst>
              <a:ext uri="{FF2B5EF4-FFF2-40B4-BE49-F238E27FC236}">
                <a16:creationId xmlns:a16="http://schemas.microsoft.com/office/drawing/2014/main" id="{38D1D114-6799-4E4D-A920-0E96436E12FB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 rot="5400000">
            <a:off x="3289587" y="3861000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2">
                    <a:alpha val="0"/>
                  </a:schemeClr>
                </a:gs>
                <a:gs pos="90000">
                  <a:schemeClr val="tx2"/>
                </a:gs>
              </a:gsLst>
              <a:lin ang="0" scaled="0"/>
              <a:tileRect/>
            </a:gradFill>
          </a:ln>
        </p:spPr>
        <p:txBody>
          <a:bodyPr vert="vert270" lIns="0" tIns="0" rIns="36000" bIns="144000" anchor="ctr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lang="de-DE"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de-DE" sz="3600" b="1" dirty="0">
              <a:solidFill>
                <a:schemeClr val="tx2"/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66650D7-093A-4F17-9F8B-81B9FE24A86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7BCC2F0-30B8-43E7-8EEB-136F99CF7A1B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gray"/>
        <p:txBody>
          <a:bodyPr vert="horz"/>
          <a:lstStyle/>
          <a:p>
            <a:r>
              <a:rPr lang="de-DE" dirty="0"/>
              <a:t>Elemente für Baukasten (2/2)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3EFB6489-0F65-453D-8A70-8C48BB31EFA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9265587" y="1629000"/>
            <a:ext cx="2592000" cy="2016000"/>
          </a:xfrm>
          <a:prstGeom prst="rect">
            <a:avLst/>
          </a:prstGeom>
          <a:ln w="6350">
            <a:solidFill>
              <a:schemeClr val="tx1"/>
            </a:solidFill>
          </a:ln>
        </p:spPr>
        <p:txBody>
          <a:bodyPr vert="horz" lIns="144000" tIns="144000" rIns="144000" bIns="144000" rtlCol="0">
            <a:no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spcAft>
                <a:spcPts val="400"/>
              </a:spcAft>
              <a:buFont typeface="Arial" pitchFamily="34" charset="0"/>
              <a:buNone/>
              <a:defRPr sz="20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spcAft>
                <a:spcPts val="400"/>
              </a:spcAft>
              <a:buFont typeface="Arial" pitchFamily="34" charset="0"/>
              <a:buNone/>
              <a:defRPr lang="de-DE" sz="1800" b="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180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Tx/>
              <a:buFont typeface="Arial" panose="020B0604020202020204" pitchFamily="34" charset="0"/>
              <a:buChar char="-"/>
              <a:defRPr lang="de-DE" sz="180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6pPr>
            <a:lvl7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latin typeface="+mj-lt"/>
              </a:rPr>
              <a:t>Weiße Fläche mit formatiertem Text</a:t>
            </a:r>
          </a:p>
          <a:p>
            <a:pPr lvl="1"/>
            <a:r>
              <a:rPr lang="de-DE" dirty="0">
                <a:latin typeface="+mj-lt"/>
              </a:rPr>
              <a:t>Lorem</a:t>
            </a:r>
          </a:p>
          <a:p>
            <a:pPr lvl="2"/>
            <a:r>
              <a:rPr lang="de-DE" dirty="0">
                <a:latin typeface="+mj-lt"/>
              </a:rPr>
              <a:t>Ipsum</a:t>
            </a:r>
          </a:p>
          <a:p>
            <a:pPr lvl="3"/>
            <a:r>
              <a:rPr lang="de-DE" dirty="0">
                <a:latin typeface="+mj-lt"/>
              </a:rPr>
              <a:t>Simet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4124D003-4649-47AE-BA08-CFC68696FBF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6313587" y="1629000"/>
            <a:ext cx="2592000" cy="2016000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txBody>
          <a:bodyPr vert="horz" lIns="144000" tIns="144000" rIns="144000" bIns="144000" rtlCol="0">
            <a:no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spcAft>
                <a:spcPts val="400"/>
              </a:spcAft>
              <a:buFont typeface="Arial" pitchFamily="34" charset="0"/>
              <a:buNone/>
              <a:defRPr sz="20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spcAft>
                <a:spcPts val="400"/>
              </a:spcAft>
              <a:buFont typeface="Arial" pitchFamily="34" charset="0"/>
              <a:buNone/>
              <a:defRPr lang="de-DE" sz="1800" b="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180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Tx/>
              <a:buFont typeface="Arial" panose="020B0604020202020204" pitchFamily="34" charset="0"/>
              <a:buChar char="-"/>
              <a:defRPr lang="de-DE" sz="180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6pPr>
            <a:lvl7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2"/>
                </a:solidFill>
                <a:latin typeface="+mj-lt"/>
              </a:rPr>
              <a:t>Rote Fläche mit formatiertem Text</a:t>
            </a:r>
          </a:p>
          <a:p>
            <a:pPr lvl="1"/>
            <a:r>
              <a:rPr lang="de-DE" dirty="0">
                <a:solidFill>
                  <a:schemeClr val="tx2"/>
                </a:solidFill>
                <a:latin typeface="+mj-lt"/>
              </a:rPr>
              <a:t>Lorem</a:t>
            </a:r>
          </a:p>
          <a:p>
            <a:pPr lvl="2"/>
            <a:r>
              <a:rPr lang="de-DE" dirty="0">
                <a:solidFill>
                  <a:schemeClr val="tx2"/>
                </a:solidFill>
                <a:latin typeface="+mj-lt"/>
              </a:rPr>
              <a:t>Ipsum</a:t>
            </a:r>
          </a:p>
          <a:p>
            <a:pPr lvl="3"/>
            <a:r>
              <a:rPr lang="de-DE" dirty="0">
                <a:solidFill>
                  <a:schemeClr val="tx2"/>
                </a:solidFill>
                <a:latin typeface="+mj-lt"/>
              </a:rPr>
              <a:t>Simet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FE0575C-B3D3-4B0B-9327-2BAA173F87B1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3289587" y="1629000"/>
            <a:ext cx="2592000" cy="2016000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/>
            </a:solidFill>
          </a:ln>
        </p:spPr>
        <p:txBody>
          <a:bodyPr vert="horz" lIns="144000" tIns="144000" rIns="144000" bIns="144000" rtlCol="0">
            <a:no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spcAft>
                <a:spcPts val="400"/>
              </a:spcAft>
              <a:buFont typeface="Arial" pitchFamily="34" charset="0"/>
              <a:buNone/>
              <a:defRPr sz="20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spcAft>
                <a:spcPts val="400"/>
              </a:spcAft>
              <a:buFont typeface="Arial" pitchFamily="34" charset="0"/>
              <a:buNone/>
              <a:defRPr lang="de-DE" sz="1800" b="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180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Tx/>
              <a:buFont typeface="Arial" panose="020B0604020202020204" pitchFamily="34" charset="0"/>
              <a:buChar char="-"/>
              <a:defRPr lang="de-DE" sz="180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6pPr>
            <a:lvl7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2"/>
                </a:solidFill>
                <a:latin typeface="+mj-lt"/>
              </a:rPr>
              <a:t>Dunkelgraue Fläche mit formatiertem Text</a:t>
            </a:r>
          </a:p>
          <a:p>
            <a:pPr lvl="1"/>
            <a:r>
              <a:rPr lang="de-DE" dirty="0">
                <a:solidFill>
                  <a:schemeClr val="tx2"/>
                </a:solidFill>
                <a:latin typeface="+mj-lt"/>
              </a:rPr>
              <a:t>Lorem</a:t>
            </a:r>
          </a:p>
          <a:p>
            <a:pPr lvl="2"/>
            <a:r>
              <a:rPr lang="de-DE" dirty="0">
                <a:solidFill>
                  <a:schemeClr val="tx2"/>
                </a:solidFill>
                <a:latin typeface="+mj-lt"/>
              </a:rPr>
              <a:t>Ipsum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70C992E7-A99E-4E41-BF58-3E642844EC63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337587" y="1629000"/>
            <a:ext cx="2592000" cy="2016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lIns="144000" tIns="144000" rIns="144000" bIns="144000" rtlCol="0">
            <a:no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spcAft>
                <a:spcPts val="400"/>
              </a:spcAft>
              <a:buFont typeface="Arial" pitchFamily="34" charset="0"/>
              <a:buNone/>
              <a:defRPr sz="20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spcAft>
                <a:spcPts val="400"/>
              </a:spcAft>
              <a:buFont typeface="Arial" pitchFamily="34" charset="0"/>
              <a:buNone/>
              <a:defRPr lang="de-DE" sz="1800" b="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180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Tx/>
              <a:buFont typeface="Arial" panose="020B0604020202020204" pitchFamily="34" charset="0"/>
              <a:buChar char="-"/>
              <a:defRPr lang="de-DE" sz="180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6pPr>
            <a:lvl7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latin typeface="+mj-lt"/>
              </a:rPr>
              <a:t>Graue Fläche mit formatiertem Text</a:t>
            </a:r>
          </a:p>
          <a:p>
            <a:pPr lvl="1"/>
            <a:r>
              <a:rPr lang="de-DE" dirty="0">
                <a:latin typeface="+mj-lt"/>
              </a:rPr>
              <a:t>Lorem</a:t>
            </a:r>
          </a:p>
          <a:p>
            <a:pPr lvl="2"/>
            <a:r>
              <a:rPr lang="de-DE" dirty="0">
                <a:latin typeface="+mj-lt"/>
              </a:rPr>
              <a:t>Ipsum</a:t>
            </a:r>
          </a:p>
          <a:p>
            <a:pPr lvl="3"/>
            <a:r>
              <a:rPr lang="de-DE" dirty="0">
                <a:latin typeface="+mj-lt"/>
              </a:rPr>
              <a:t>Simet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E5250C4F-FC4E-45C8-A53B-5A64E7728896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9265587" y="3861000"/>
            <a:ext cx="2592000" cy="2088000"/>
          </a:xfrm>
          <a:prstGeom prst="rect">
            <a:avLst/>
          </a:prstGeom>
          <a:ln w="6350">
            <a:solidFill>
              <a:schemeClr val="tx1"/>
            </a:solidFill>
          </a:ln>
        </p:spPr>
        <p:txBody>
          <a:bodyPr vert="horz" lIns="144000" tIns="1008000" rIns="144000" bIns="144000" rtlCol="0">
            <a:no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spcAft>
                <a:spcPts val="400"/>
              </a:spcAft>
              <a:buFont typeface="Arial" pitchFamily="34" charset="0"/>
              <a:buNone/>
              <a:defRPr sz="20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spcAft>
                <a:spcPts val="400"/>
              </a:spcAft>
              <a:buFont typeface="Arial" pitchFamily="34" charset="0"/>
              <a:buNone/>
              <a:defRPr lang="de-DE" sz="1800" b="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180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Tx/>
              <a:buFont typeface="Arial" panose="020B0604020202020204" pitchFamily="34" charset="0"/>
              <a:buChar char="-"/>
              <a:defRPr lang="de-DE" sz="180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6pPr>
            <a:lvl7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latin typeface="+mj-lt"/>
              </a:rPr>
              <a:t>Weiße Fläche mit</a:t>
            </a:r>
            <a:br>
              <a:rPr lang="de-DE" dirty="0">
                <a:latin typeface="+mj-lt"/>
              </a:rPr>
            </a:br>
            <a:r>
              <a:rPr lang="de-DE" dirty="0">
                <a:latin typeface="+mj-lt"/>
              </a:rPr>
              <a:t>Nummerierung/ Icon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1FAE5B29-BFB4-4029-8087-21B4CF1216C2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6313587" y="3861000"/>
            <a:ext cx="2592000" cy="2088000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txBody>
          <a:bodyPr vert="horz" lIns="144000" tIns="1008000" rIns="144000" bIns="144000" rtlCol="0">
            <a:no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spcAft>
                <a:spcPts val="400"/>
              </a:spcAft>
              <a:buFont typeface="Arial" pitchFamily="34" charset="0"/>
              <a:buNone/>
              <a:defRPr sz="20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spcAft>
                <a:spcPts val="400"/>
              </a:spcAft>
              <a:buFont typeface="Arial" pitchFamily="34" charset="0"/>
              <a:buNone/>
              <a:defRPr lang="de-DE" sz="1800" b="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180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Tx/>
              <a:buFont typeface="Arial" panose="020B0604020202020204" pitchFamily="34" charset="0"/>
              <a:buChar char="-"/>
              <a:defRPr lang="de-DE" sz="180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6pPr>
            <a:lvl7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2"/>
                </a:solidFill>
                <a:latin typeface="+mj-lt"/>
              </a:rPr>
              <a:t>Rote Fläche mit Nummerierung/ Icon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A8157C6C-171F-4836-A0FC-F1979002B254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337587" y="3861000"/>
            <a:ext cx="2592000" cy="2088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lIns="144000" tIns="1008000" rIns="144000" bIns="144000" rtlCol="0">
            <a:no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spcAft>
                <a:spcPts val="400"/>
              </a:spcAft>
              <a:buFont typeface="Arial" pitchFamily="34" charset="0"/>
              <a:buNone/>
              <a:defRPr sz="20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spcAft>
                <a:spcPts val="400"/>
              </a:spcAft>
              <a:buFont typeface="Arial" pitchFamily="34" charset="0"/>
              <a:buNone/>
              <a:defRPr lang="de-DE" sz="1800" b="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de-DE" sz="180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Tx/>
              <a:buFont typeface="Arial" panose="020B0604020202020204" pitchFamily="34" charset="0"/>
              <a:buChar char="-"/>
              <a:defRPr lang="de-DE" sz="1800" kern="1200" dirty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6pPr>
            <a:lvl7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latin typeface="+mj-lt"/>
              </a:rPr>
              <a:t>Graue Fläche mit Nummerierung/ Icon</a:t>
            </a:r>
          </a:p>
        </p:txBody>
      </p:sp>
      <p:sp>
        <p:nvSpPr>
          <p:cNvPr id="22" name="Textplatzhalter 11">
            <a:extLst>
              <a:ext uri="{FF2B5EF4-FFF2-40B4-BE49-F238E27FC236}">
                <a16:creationId xmlns:a16="http://schemas.microsoft.com/office/drawing/2014/main" id="{1798D6F7-330F-4D72-88B7-EC77313C95D8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 rot="5400000">
            <a:off x="337587" y="3861000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lIns="0" tIns="0" rIns="36000" bIns="144000" anchor="ctr"/>
          <a:lstStyle>
            <a:defPPr>
              <a:defRPr lang="de-DE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rgbClr val="444B52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rgbClr val="444B52"/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rgbClr val="444B52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4400" b="1">
                <a:solidFill>
                  <a:srgbClr val="444B52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4400" b="1">
                <a:solidFill>
                  <a:srgbClr val="444B52"/>
                </a:solidFill>
              </a:defRPr>
            </a:lvl5pPr>
            <a:lvl6pPr marL="540000" indent="-18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baseline="0">
                <a:solidFill>
                  <a:srgbClr val="444B52"/>
                </a:solidFill>
              </a:defRPr>
            </a:lvl6pPr>
            <a:lvl7pPr marL="540000" indent="-18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baseline="0">
                <a:solidFill>
                  <a:srgbClr val="444B52"/>
                </a:solidFill>
              </a:defRPr>
            </a:lvl7pPr>
            <a:lvl8pPr marL="540000" indent="-18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baseline="0">
                <a:solidFill>
                  <a:srgbClr val="444B52"/>
                </a:solidFill>
              </a:defRPr>
            </a:lvl8pPr>
            <a:lvl9pPr marL="540000" indent="-18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baseline="0">
                <a:solidFill>
                  <a:srgbClr val="444B52"/>
                </a:solidFill>
              </a:defRPr>
            </a:lvl9pPr>
          </a:lstStyle>
          <a:p>
            <a:pPr lvl="0"/>
            <a:r>
              <a:rPr lang="de-DE" sz="36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3" name="Textplatzhalter 11">
            <a:extLst>
              <a:ext uri="{FF2B5EF4-FFF2-40B4-BE49-F238E27FC236}">
                <a16:creationId xmlns:a16="http://schemas.microsoft.com/office/drawing/2014/main" id="{AC09D7E2-337D-4502-BBB5-6C872470B56F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 rot="5400000">
            <a:off x="9265587" y="3861000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1">
                    <a:alpha val="0"/>
                  </a:schemeClr>
                </a:gs>
                <a:gs pos="90000">
                  <a:schemeClr val="tx1"/>
                </a:gs>
              </a:gsLst>
              <a:lin ang="0" scaled="0"/>
              <a:tileRect/>
            </a:gradFill>
          </a:ln>
        </p:spPr>
        <p:txBody>
          <a:bodyPr vert="vert270" lIns="0" tIns="0" rIns="36000" bIns="144000" anchor="ctr"/>
          <a:lstStyle>
            <a:defPPr>
              <a:defRPr lang="de-DE"/>
            </a:defPPr>
            <a:lvl1pPr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rgbClr val="444B52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rgbClr val="444B52"/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rgbClr val="444B52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4400" b="1">
                <a:solidFill>
                  <a:srgbClr val="444B52"/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4400" b="1">
                <a:solidFill>
                  <a:srgbClr val="444B52"/>
                </a:solidFill>
              </a:defRPr>
            </a:lvl5pPr>
            <a:lvl6pPr marL="540000" indent="-18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baseline="0">
                <a:solidFill>
                  <a:srgbClr val="444B52"/>
                </a:solidFill>
              </a:defRPr>
            </a:lvl6pPr>
            <a:lvl7pPr marL="540000" indent="-18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baseline="0">
                <a:solidFill>
                  <a:srgbClr val="444B52"/>
                </a:solidFill>
              </a:defRPr>
            </a:lvl7pPr>
            <a:lvl8pPr marL="540000" indent="-18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baseline="0">
                <a:solidFill>
                  <a:srgbClr val="444B52"/>
                </a:solidFill>
              </a:defRPr>
            </a:lvl8pPr>
            <a:lvl9pPr marL="540000" indent="-18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baseline="0">
                <a:solidFill>
                  <a:srgbClr val="444B52"/>
                </a:solidFill>
              </a:defRPr>
            </a:lvl9pPr>
          </a:lstStyle>
          <a:p>
            <a:pPr lvl="0"/>
            <a:endParaRPr lang="de-DE" sz="3600" dirty="0">
              <a:solidFill>
                <a:schemeClr val="tx1"/>
              </a:solidFill>
            </a:endParaRPr>
          </a:p>
        </p:txBody>
      </p:sp>
      <p:sp>
        <p:nvSpPr>
          <p:cNvPr id="26" name="Textplatzhalter 11">
            <a:extLst>
              <a:ext uri="{FF2B5EF4-FFF2-40B4-BE49-F238E27FC236}">
                <a16:creationId xmlns:a16="http://schemas.microsoft.com/office/drawing/2014/main" id="{B41BAECA-9000-4804-8BAE-ACC7760D60AB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 rot="5400000">
            <a:off x="6313587" y="3861000"/>
            <a:ext cx="720000" cy="720000"/>
          </a:xfrm>
          <a:prstGeom prst="bracketPair">
            <a:avLst>
              <a:gd name="adj" fmla="val 0"/>
            </a:avLst>
          </a:prstGeom>
          <a:noFill/>
          <a:ln w="6350">
            <a:gradFill flip="none" rotWithShape="1">
              <a:gsLst>
                <a:gs pos="10000">
                  <a:schemeClr val="tx2">
                    <a:alpha val="0"/>
                  </a:schemeClr>
                </a:gs>
                <a:gs pos="90000">
                  <a:schemeClr val="tx2"/>
                </a:gs>
              </a:gsLst>
              <a:lin ang="0" scaled="0"/>
              <a:tileRect/>
            </a:gradFill>
          </a:ln>
        </p:spPr>
        <p:txBody>
          <a:bodyPr vert="vert270" lIns="0" tIns="0" rIns="36000" bIns="144000" anchor="ctr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lang="de-DE"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4400" b="1" kern="120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-"/>
              <a:defRPr sz="1800" kern="1200" baseline="0">
                <a:solidFill>
                  <a:srgbClr val="444B5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sz="3600" b="1" dirty="0">
                <a:solidFill>
                  <a:schemeClr val="tx2"/>
                </a:solidFill>
              </a:rPr>
              <a:t>2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90085567-5963-4DE6-A76C-D574D831BB20}"/>
              </a:ext>
            </a:extLst>
          </p:cNvPr>
          <p:cNvGrpSpPr>
            <a:grpSpLocks noChangeAspect="1"/>
          </p:cNvGrpSpPr>
          <p:nvPr>
            <p:custDataLst>
              <p:tags r:id="rId16"/>
            </p:custDataLst>
          </p:nvPr>
        </p:nvGrpSpPr>
        <p:grpSpPr bwMode="gray">
          <a:xfrm>
            <a:off x="3397587" y="3969000"/>
            <a:ext cx="504000" cy="504000"/>
            <a:chOff x="956361" y="1900586"/>
            <a:chExt cx="680476" cy="680476"/>
          </a:xfrm>
        </p:grpSpPr>
        <p:sp>
          <p:nvSpPr>
            <p:cNvPr id="28" name="Abgerundetes Rechteck 145">
              <a:extLst>
                <a:ext uri="{FF2B5EF4-FFF2-40B4-BE49-F238E27FC236}">
                  <a16:creationId xmlns:a16="http://schemas.microsoft.com/office/drawing/2014/main" id="{0725A28B-9E4C-45D7-895C-0112AF0F6A5D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956361" y="1900586"/>
              <a:ext cx="680476" cy="680476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lIns="90000" tIns="108000" rIns="90000" bIns="46800" rtlCol="0" anchor="t" anchorCtr="0"/>
            <a:lstStyle/>
            <a:p>
              <a:pPr>
                <a:buClr>
                  <a:srgbClr val="FF0000"/>
                </a:buClr>
                <a:buSzPct val="250000"/>
                <a:tabLst>
                  <a:tab pos="90000" algn="l"/>
                </a:tabLst>
              </a:pPr>
              <a:endParaRPr lang="de-DE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9" name="Ellipse 9">
              <a:extLst>
                <a:ext uri="{FF2B5EF4-FFF2-40B4-BE49-F238E27FC236}">
                  <a16:creationId xmlns:a16="http://schemas.microsoft.com/office/drawing/2014/main" id="{923E955B-857B-4DC9-BE50-2D1FEE256F0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110349" y="2018417"/>
              <a:ext cx="372499" cy="461218"/>
            </a:xfrm>
            <a:custGeom>
              <a:avLst/>
              <a:gdLst/>
              <a:ahLst/>
              <a:cxnLst/>
              <a:rect l="l" t="t" r="r" b="b"/>
              <a:pathLst>
                <a:path w="1512000" h="1872112">
                  <a:moveTo>
                    <a:pt x="755868" y="0"/>
                  </a:moveTo>
                  <a:cubicBezTo>
                    <a:pt x="994455" y="0"/>
                    <a:pt x="1187868" y="193413"/>
                    <a:pt x="1187868" y="432000"/>
                  </a:cubicBezTo>
                  <a:cubicBezTo>
                    <a:pt x="1187868" y="602221"/>
                    <a:pt x="1089417" y="749448"/>
                    <a:pt x="945607" y="818335"/>
                  </a:cubicBezTo>
                  <a:cubicBezTo>
                    <a:pt x="1260795" y="895140"/>
                    <a:pt x="1495658" y="1167311"/>
                    <a:pt x="1510228" y="1495401"/>
                  </a:cubicBezTo>
                  <a:cubicBezTo>
                    <a:pt x="1511729" y="1500878"/>
                    <a:pt x="1512000" y="1506480"/>
                    <a:pt x="1512000" y="1512112"/>
                  </a:cubicBezTo>
                  <a:lnTo>
                    <a:pt x="1511391" y="1517862"/>
                  </a:lnTo>
                  <a:cubicBezTo>
                    <a:pt x="1511969" y="1521776"/>
                    <a:pt x="1512000" y="1525705"/>
                    <a:pt x="1512000" y="1529642"/>
                  </a:cubicBezTo>
                  <a:lnTo>
                    <a:pt x="1510141" y="1529642"/>
                  </a:lnTo>
                  <a:cubicBezTo>
                    <a:pt x="1491807" y="1720375"/>
                    <a:pt x="1161115" y="1872112"/>
                    <a:pt x="756000" y="1872112"/>
                  </a:cubicBezTo>
                  <a:cubicBezTo>
                    <a:pt x="350885" y="1872112"/>
                    <a:pt x="20193" y="1720375"/>
                    <a:pt x="1859" y="1529642"/>
                  </a:cubicBezTo>
                  <a:lnTo>
                    <a:pt x="0" y="1529642"/>
                  </a:lnTo>
                  <a:lnTo>
                    <a:pt x="610" y="1517862"/>
                  </a:lnTo>
                  <a:cubicBezTo>
                    <a:pt x="32" y="1515960"/>
                    <a:pt x="0" y="1514038"/>
                    <a:pt x="0" y="1512112"/>
                  </a:cubicBezTo>
                  <a:lnTo>
                    <a:pt x="1772" y="1495401"/>
                  </a:lnTo>
                  <a:cubicBezTo>
                    <a:pt x="16339" y="1167371"/>
                    <a:pt x="251119" y="895240"/>
                    <a:pt x="566222" y="818386"/>
                  </a:cubicBezTo>
                  <a:cubicBezTo>
                    <a:pt x="422363" y="749513"/>
                    <a:pt x="323868" y="602259"/>
                    <a:pt x="323868" y="432000"/>
                  </a:cubicBezTo>
                  <a:cubicBezTo>
                    <a:pt x="323868" y="193413"/>
                    <a:pt x="517281" y="0"/>
                    <a:pt x="755868" y="0"/>
                  </a:cubicBezTo>
                  <a:close/>
                </a:path>
              </a:pathLst>
            </a:cu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2FAFB53D-EFA8-4056-B67E-CE11BBF51D36}"/>
              </a:ext>
            </a:extLst>
          </p:cNvPr>
          <p:cNvGrpSpPr>
            <a:grpSpLocks noChangeAspect="1"/>
          </p:cNvGrpSpPr>
          <p:nvPr>
            <p:custDataLst>
              <p:tags r:id="rId17"/>
            </p:custDataLst>
          </p:nvPr>
        </p:nvGrpSpPr>
        <p:grpSpPr bwMode="gray">
          <a:xfrm>
            <a:off x="9373587" y="3969000"/>
            <a:ext cx="504000" cy="504000"/>
            <a:chOff x="956361" y="1900586"/>
            <a:chExt cx="680476" cy="680476"/>
          </a:xfrm>
        </p:grpSpPr>
        <p:sp>
          <p:nvSpPr>
            <p:cNvPr id="31" name="Abgerundetes Rechteck 145">
              <a:extLst>
                <a:ext uri="{FF2B5EF4-FFF2-40B4-BE49-F238E27FC236}">
                  <a16:creationId xmlns:a16="http://schemas.microsoft.com/office/drawing/2014/main" id="{031175FA-A9FA-406E-A15B-92F90E28D9BC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956361" y="1900586"/>
              <a:ext cx="680476" cy="680476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lIns="90000" tIns="108000" rIns="90000" bIns="46800" rtlCol="0" anchor="t" anchorCtr="0"/>
            <a:lstStyle/>
            <a:p>
              <a:pPr>
                <a:buClr>
                  <a:srgbClr val="FF0000"/>
                </a:buClr>
                <a:buSzPct val="250000"/>
                <a:tabLst>
                  <a:tab pos="90000" algn="l"/>
                </a:tabLst>
              </a:pPr>
              <a:endParaRPr lang="de-DE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32" name="Ellipse 9">
              <a:extLst>
                <a:ext uri="{FF2B5EF4-FFF2-40B4-BE49-F238E27FC236}">
                  <a16:creationId xmlns:a16="http://schemas.microsoft.com/office/drawing/2014/main" id="{B22C43FB-0523-4371-B75F-BD8187A2FC0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110349" y="2018417"/>
              <a:ext cx="372499" cy="461218"/>
            </a:xfrm>
            <a:custGeom>
              <a:avLst/>
              <a:gdLst/>
              <a:ahLst/>
              <a:cxnLst/>
              <a:rect l="l" t="t" r="r" b="b"/>
              <a:pathLst>
                <a:path w="1512000" h="1872112">
                  <a:moveTo>
                    <a:pt x="755868" y="0"/>
                  </a:moveTo>
                  <a:cubicBezTo>
                    <a:pt x="994455" y="0"/>
                    <a:pt x="1187868" y="193413"/>
                    <a:pt x="1187868" y="432000"/>
                  </a:cubicBezTo>
                  <a:cubicBezTo>
                    <a:pt x="1187868" y="602221"/>
                    <a:pt x="1089417" y="749448"/>
                    <a:pt x="945607" y="818335"/>
                  </a:cubicBezTo>
                  <a:cubicBezTo>
                    <a:pt x="1260795" y="895140"/>
                    <a:pt x="1495658" y="1167311"/>
                    <a:pt x="1510228" y="1495401"/>
                  </a:cubicBezTo>
                  <a:cubicBezTo>
                    <a:pt x="1511729" y="1500878"/>
                    <a:pt x="1512000" y="1506480"/>
                    <a:pt x="1512000" y="1512112"/>
                  </a:cubicBezTo>
                  <a:lnTo>
                    <a:pt x="1511391" y="1517862"/>
                  </a:lnTo>
                  <a:cubicBezTo>
                    <a:pt x="1511969" y="1521776"/>
                    <a:pt x="1512000" y="1525705"/>
                    <a:pt x="1512000" y="1529642"/>
                  </a:cubicBezTo>
                  <a:lnTo>
                    <a:pt x="1510141" y="1529642"/>
                  </a:lnTo>
                  <a:cubicBezTo>
                    <a:pt x="1491807" y="1720375"/>
                    <a:pt x="1161115" y="1872112"/>
                    <a:pt x="756000" y="1872112"/>
                  </a:cubicBezTo>
                  <a:cubicBezTo>
                    <a:pt x="350885" y="1872112"/>
                    <a:pt x="20193" y="1720375"/>
                    <a:pt x="1859" y="1529642"/>
                  </a:cubicBezTo>
                  <a:lnTo>
                    <a:pt x="0" y="1529642"/>
                  </a:lnTo>
                  <a:lnTo>
                    <a:pt x="610" y="1517862"/>
                  </a:lnTo>
                  <a:cubicBezTo>
                    <a:pt x="32" y="1515960"/>
                    <a:pt x="0" y="1514038"/>
                    <a:pt x="0" y="1512112"/>
                  </a:cubicBezTo>
                  <a:lnTo>
                    <a:pt x="1772" y="1495401"/>
                  </a:lnTo>
                  <a:cubicBezTo>
                    <a:pt x="16339" y="1167371"/>
                    <a:pt x="251119" y="895240"/>
                    <a:pt x="566222" y="818386"/>
                  </a:cubicBezTo>
                  <a:cubicBezTo>
                    <a:pt x="422363" y="749513"/>
                    <a:pt x="323868" y="602259"/>
                    <a:pt x="323868" y="432000"/>
                  </a:cubicBezTo>
                  <a:cubicBezTo>
                    <a:pt x="323868" y="193413"/>
                    <a:pt x="517281" y="0"/>
                    <a:pt x="755868" y="0"/>
                  </a:cubicBezTo>
                  <a:close/>
                </a:path>
              </a:pathLst>
            </a:cu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bg2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6C855F8-D0DB-4E5C-A8A5-637B445AB8EB}"/>
              </a:ext>
            </a:extLst>
          </p:cNvPr>
          <p:cNvSpPr>
            <a:spLocks noGrp="1"/>
          </p:cNvSpPr>
          <p:nvPr>
            <p:ph type="dt" sz="half" idx="22"/>
          </p:nvPr>
        </p:nvSpPr>
        <p:spPr bwMode="gray"/>
        <p:txBody>
          <a:bodyPr/>
          <a:lstStyle/>
          <a:p>
            <a:fld id="{D551A9EE-4F85-4CD5-B8A2-A746188483ED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FFC1F35-1A59-4D5B-92AB-6E70BCE0324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pPr algn="l"/>
            <a:r>
              <a:rPr lang="de-DE" dirty="0"/>
              <a:t>Seite </a:t>
            </a:r>
            <a:fld id="{DC907883-A228-4E41-A7BF-33DDF6A01B2A}" type="slidenum">
              <a:rPr lang="de-DE" smtClean="0"/>
              <a:pPr algn="l"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25929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5B5AF9E1-A4D8-4419-94B0-9CEC5CBFAF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7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17" name="Objekt 16" hidden="1">
                        <a:extLst>
                          <a:ext uri="{FF2B5EF4-FFF2-40B4-BE49-F238E27FC236}">
                            <a16:creationId xmlns:a16="http://schemas.microsoft.com/office/drawing/2014/main" id="{5B5AF9E1-A4D8-4419-94B0-9CEC5CBFA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7C68F71-09F5-490B-A97D-568CD46714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b="1" dirty="0"/>
              <a:t>Einführung </a:t>
            </a:r>
            <a:r>
              <a:rPr lang="de-DE" b="1" dirty="0" err="1"/>
              <a:t>Hazelcast</a:t>
            </a:r>
            <a:endParaRPr lang="de-DE" b="1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D53B2BD-C648-44B3-B809-AFEF9AB1BC6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 err="1"/>
              <a:t>Deployment</a:t>
            </a:r>
            <a:r>
              <a:rPr lang="de-DE" dirty="0"/>
              <a:t>-Topologi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7F5EE19-6316-4E6B-95C6-95D8A90E4CE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Partitionieru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3CA1B73-ADA7-42E0-A42E-4D44341550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IMap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1FA763A-2AED-4E1D-B8A2-9818910900C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 err="1"/>
              <a:t>Hazelcast</a:t>
            </a:r>
            <a:r>
              <a:rPr lang="de-DE" dirty="0"/>
              <a:t> bei der FI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3813903-45F2-4B14-8716-B64E89A337A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Hands-On </a:t>
            </a:r>
            <a:r>
              <a:rPr lang="de-DE" dirty="0" err="1"/>
              <a:t>Hazelcast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E99DCBA-5036-4AFF-BD92-6DE7FA6B68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986D9D2F-AC42-477E-8668-62FA1A13581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20AA7B-D798-493B-AFAE-930E3E74FFC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12B742-39DF-4D43-8C4D-7C882CDB00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9E48AB2-B30A-4DB8-895E-D34AC5CDBED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489BCE4-90C1-4E10-B7B8-54380A93A0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85FB968-B271-4AA2-93BA-C0170C4A84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6</a:t>
            </a:r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C736B547-8D57-4384-989C-56C4016332CC}"/>
              </a:ext>
            </a:extLst>
          </p:cNvPr>
          <p:cNvSpPr>
            <a:spLocks noGrp="1"/>
          </p:cNvSpPr>
          <p:nvPr>
            <p:ph type="dt" sz="half" idx="28"/>
          </p:nvPr>
        </p:nvSpPr>
        <p:spPr bwMode="gray"/>
        <p:txBody>
          <a:bodyPr/>
          <a:lstStyle/>
          <a:p>
            <a:fld id="{350E4AE0-D406-445D-B6A6-8E4DB1E786F1}" type="datetime1">
              <a:rPr lang="de-DE" smtClean="0"/>
              <a:t>18.12.2024</a:t>
            </a:fld>
            <a:endParaRPr lang="de-DE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F96FA1EC-C508-4D72-9DA1-0EB4695DE6B8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30299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33A6393-7CA5-4AD9-9A48-86279DD86D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9501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7" name="think-cell Folie" r:id="rId4" imgW="235" imgH="235" progId="TCLayout.ActiveDocument.1">
                  <p:embed/>
                </p:oleObj>
              </mc:Choice>
              <mc:Fallback>
                <p:oleObj name="think-cell Folie" r:id="rId4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05E9871-0242-4AE7-8019-CD3D9BE0D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führung </a:t>
            </a:r>
            <a:r>
              <a:rPr lang="de-DE" dirty="0" err="1"/>
              <a:t>Hazelcast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76FC46-BD03-49DF-9503-6E3102ECAC72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/>
              <a:t>In-Memory-Datastore mit Fokus auf Einfachheit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dirty="0"/>
              <a:t>Einfache Möglichkeiten für Entwickler zur Interaktion mit verteilten Datenstrukturen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dirty="0"/>
              <a:t>Deklarative Beschreibung von Datenstrukturen ermöglicht deren gezielte Bereitstellung für Clients mit speziellen Anforderungen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dirty="0"/>
              <a:t>Elastizität Kernbestandteil der Architektur – Skalierung eines HZ-Clusters durch simples Starten und Stoppen neuer bzw. existierender Memb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/>
              <a:t>Implementiert in Java, Clients existieren jedoch für zahlreiche Programmiersprach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/>
              <a:t>Redundanz als weiteres Schlüsselkonzept – automatische Partitionierung populärer Datenstrukturen auf Cluster-Member, Anfertigung von Backups</a:t>
            </a:r>
          </a:p>
          <a:p>
            <a:endParaRPr lang="de-DE" sz="180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0A00332-2690-4FFA-B1EE-2C052B99190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9F1A65C-91C9-4C04-898A-58F58FAED912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32702AF-6838-404C-B238-7E8A28C1DF43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E125532-3037-4317-8DFE-8465C03CE65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l"/>
            <a:r>
              <a:rPr lang="de-DE"/>
              <a:t>Seite </a:t>
            </a:r>
            <a:fld id="{DC907883-A228-4E41-A7BF-33DDF6A01B2A}" type="slidenum">
              <a:rPr lang="de-DE" smtClean="0"/>
              <a:pPr algn="l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1727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5B5AF9E1-A4D8-4419-94B0-9CEC5CBFAF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1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17" name="Objekt 16" hidden="1">
                        <a:extLst>
                          <a:ext uri="{FF2B5EF4-FFF2-40B4-BE49-F238E27FC236}">
                            <a16:creationId xmlns:a16="http://schemas.microsoft.com/office/drawing/2014/main" id="{5B5AF9E1-A4D8-4419-94B0-9CEC5CBFA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7C68F71-09F5-490B-A97D-568CD46714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dirty="0"/>
              <a:t>Einführung </a:t>
            </a:r>
            <a:r>
              <a:rPr lang="de-DE" dirty="0" err="1"/>
              <a:t>Hazelcas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D53B2BD-C648-44B3-B809-AFEF9AB1BC6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b="1" dirty="0" err="1"/>
              <a:t>Deployment</a:t>
            </a:r>
            <a:r>
              <a:rPr lang="de-DE" b="1" dirty="0"/>
              <a:t>-Topologi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7F5EE19-6316-4E6B-95C6-95D8A90E4CE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Partitionieru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3CA1B73-ADA7-42E0-A42E-4D44341550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IMap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1FA763A-2AED-4E1D-B8A2-9818910900C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 err="1"/>
              <a:t>Hazelcast</a:t>
            </a:r>
            <a:r>
              <a:rPr lang="de-DE" dirty="0"/>
              <a:t> bei der FI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3813903-45F2-4B14-8716-B64E89A337A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Hands-On </a:t>
            </a:r>
            <a:r>
              <a:rPr lang="de-DE" dirty="0" err="1"/>
              <a:t>Hazelcast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E99DCBA-5036-4AFF-BD92-6DE7FA6B68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986D9D2F-AC42-477E-8668-62FA1A13581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20AA7B-D798-493B-AFAE-930E3E74FFC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12B742-39DF-4D43-8C4D-7C882CDB00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9E48AB2-B30A-4DB8-895E-D34AC5CDBED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489BCE4-90C1-4E10-B7B8-54380A93A0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85FB968-B271-4AA2-93BA-C0170C4A84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6</a:t>
            </a:r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C736B547-8D57-4384-989C-56C4016332CC}"/>
              </a:ext>
            </a:extLst>
          </p:cNvPr>
          <p:cNvSpPr>
            <a:spLocks noGrp="1"/>
          </p:cNvSpPr>
          <p:nvPr>
            <p:ph type="dt" sz="half" idx="28"/>
          </p:nvPr>
        </p:nvSpPr>
        <p:spPr bwMode="gray"/>
        <p:txBody>
          <a:bodyPr/>
          <a:lstStyle/>
          <a:p>
            <a:fld id="{350E4AE0-D406-445D-B6A6-8E4DB1E786F1}" type="datetime1">
              <a:rPr lang="de-DE" smtClean="0"/>
              <a:t>18.12.2024</a:t>
            </a:fld>
            <a:endParaRPr lang="de-DE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F96FA1EC-C508-4D72-9DA1-0EB4695DE6B8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67589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33A6393-7CA5-4AD9-9A48-86279DD86D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7" name="think-cell Folie" r:id="rId4" imgW="235" imgH="235" progId="TCLayout.ActiveDocument.1">
                  <p:embed/>
                </p:oleObj>
              </mc:Choice>
              <mc:Fallback>
                <p:oleObj name="think-cell Folie" r:id="rId4" imgW="235" imgH="23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33A6393-7CA5-4AD9-9A48-86279DD86D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05E9871-0242-4AE7-8019-CD3D9BE0D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eployment</a:t>
            </a:r>
            <a:r>
              <a:rPr lang="de-DE" dirty="0"/>
              <a:t>-Topologi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76FC46-BD03-49DF-9503-6E3102ECAC72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 err="1"/>
              <a:t>Hazelcast</a:t>
            </a:r>
            <a:r>
              <a:rPr lang="de-DE" sz="1800" b="0" dirty="0"/>
              <a:t> besitzt unterschiedliche Ausführungsmodi: </a:t>
            </a:r>
            <a:r>
              <a:rPr lang="de-DE" sz="1800" b="0" i="1" dirty="0"/>
              <a:t>Embedded Member </a:t>
            </a:r>
            <a:r>
              <a:rPr lang="de-DE" sz="1800" b="0" dirty="0"/>
              <a:t>und </a:t>
            </a:r>
            <a:r>
              <a:rPr lang="de-DE" sz="1800" b="0" i="1" dirty="0"/>
              <a:t>Client/Server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i="1" dirty="0"/>
              <a:t>Embedded Member: </a:t>
            </a:r>
            <a:r>
              <a:rPr lang="de-DE" dirty="0"/>
              <a:t>In Anwendungscode eingebetteter </a:t>
            </a:r>
            <a:r>
              <a:rPr lang="de-DE" dirty="0" err="1"/>
              <a:t>Hazelcast</a:t>
            </a:r>
            <a:r>
              <a:rPr lang="de-DE" dirty="0"/>
              <a:t>-Member tritt Cluster bei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i="1" dirty="0"/>
              <a:t>Client/Server</a:t>
            </a:r>
            <a:r>
              <a:rPr lang="de-DE" dirty="0"/>
              <a:t>: Voneinander unabhängige </a:t>
            </a:r>
            <a:r>
              <a:rPr lang="de-DE" dirty="0" err="1"/>
              <a:t>Hazelcast</a:t>
            </a:r>
            <a:r>
              <a:rPr lang="de-DE" dirty="0"/>
              <a:t>-Instanzen treten einem Cluster bei, Clients greifen über API zu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de-DE" dirty="0"/>
              <a:t>CS-Modell deutlich flexibler: Durchführung von Clusteroperationen (Skalierung, Update, …) ohne Client-Beeinträchtigung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de-DE" dirty="0"/>
              <a:t>Eingesetzt bei FI: CS-Modell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de-DE" i="1" dirty="0"/>
              <a:t>Embedded</a:t>
            </a:r>
            <a:r>
              <a:rPr lang="de-DE" dirty="0"/>
              <a:t> dennoch hilfreich für lokale Entwicklung und lokales Testen</a:t>
            </a:r>
          </a:p>
          <a:p>
            <a:endParaRPr lang="de-DE" sz="1800" b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0A00332-2690-4FFA-B1EE-2C052B99190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9F1A65C-91C9-4C04-898A-58F58FAED912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32702AF-6838-404C-B238-7E8A28C1DF43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E125532-3037-4317-8DFE-8465C03CE65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l"/>
            <a:r>
              <a:rPr lang="de-DE"/>
              <a:t>Seite </a:t>
            </a:r>
            <a:fld id="{DC907883-A228-4E41-A7BF-33DDF6A01B2A}" type="slidenum">
              <a:rPr lang="de-DE" smtClean="0"/>
              <a:pPr algn="l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76658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5B5AF9E1-A4D8-4419-94B0-9CEC5CBFAF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5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17" name="Objekt 16" hidden="1">
                        <a:extLst>
                          <a:ext uri="{FF2B5EF4-FFF2-40B4-BE49-F238E27FC236}">
                            <a16:creationId xmlns:a16="http://schemas.microsoft.com/office/drawing/2014/main" id="{5B5AF9E1-A4D8-4419-94B0-9CEC5CBFA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7C68F71-09F5-490B-A97D-568CD46714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de-DE" dirty="0"/>
              <a:t>Einführung </a:t>
            </a:r>
            <a:r>
              <a:rPr lang="de-DE" dirty="0" err="1"/>
              <a:t>Hazelcas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D53B2BD-C648-44B3-B809-AFEF9AB1BC6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 err="1"/>
              <a:t>Deployment</a:t>
            </a:r>
            <a:r>
              <a:rPr lang="de-DE" dirty="0"/>
              <a:t>-Topologi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7F5EE19-6316-4E6B-95C6-95D8A90E4CE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b="1" dirty="0"/>
              <a:t>Partitionieru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3CA1B73-ADA7-42E0-A42E-4D44341550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IMap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1FA763A-2AED-4E1D-B8A2-9818910900C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 err="1"/>
              <a:t>Hazelcast</a:t>
            </a:r>
            <a:r>
              <a:rPr lang="de-DE" dirty="0"/>
              <a:t> bei der FI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3813903-45F2-4B14-8716-B64E89A337A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Hands-On </a:t>
            </a:r>
            <a:r>
              <a:rPr lang="de-DE" dirty="0" err="1"/>
              <a:t>Hazelcast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E99DCBA-5036-4AFF-BD92-6DE7FA6B68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986D9D2F-AC42-477E-8668-62FA1A13581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20AA7B-D798-493B-AFAE-930E3E74FFC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12B742-39DF-4D43-8C4D-7C882CDB00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9E48AB2-B30A-4DB8-895E-D34AC5CDBED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489BCE4-90C1-4E10-B7B8-54380A93A0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85FB968-B271-4AA2-93BA-C0170C4A84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r>
              <a:rPr lang="de-DE" dirty="0"/>
              <a:t>6</a:t>
            </a:r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C736B547-8D57-4384-989C-56C4016332CC}"/>
              </a:ext>
            </a:extLst>
          </p:cNvPr>
          <p:cNvSpPr>
            <a:spLocks noGrp="1"/>
          </p:cNvSpPr>
          <p:nvPr>
            <p:ph type="dt" sz="half" idx="28"/>
          </p:nvPr>
        </p:nvSpPr>
        <p:spPr bwMode="gray"/>
        <p:txBody>
          <a:bodyPr/>
          <a:lstStyle/>
          <a:p>
            <a:fld id="{350E4AE0-D406-445D-B6A6-8E4DB1E786F1}" type="datetime1">
              <a:rPr lang="de-DE" smtClean="0"/>
              <a:t>18.12.2024</a:t>
            </a:fld>
            <a:endParaRPr lang="de-DE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F96FA1EC-C508-4D72-9DA1-0EB4695DE6B8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 bwMode="gray"/>
        <p:txBody>
          <a:bodyPr/>
          <a:lstStyle/>
          <a:p>
            <a:r>
              <a:rPr lang="de-DE" dirty="0"/>
              <a:t>Seite </a:t>
            </a:r>
            <a:fld id="{DC907883-A228-4E41-A7BF-33DDF6A01B2A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95623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33A6393-7CA5-4AD9-9A48-86279DD86D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0" name="think-cell Folie" r:id="rId4" imgW="235" imgH="235" progId="TCLayout.ActiveDocument.1">
                  <p:embed/>
                </p:oleObj>
              </mc:Choice>
              <mc:Fallback>
                <p:oleObj name="think-cell Folie" r:id="rId4" imgW="235" imgH="23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33A6393-7CA5-4AD9-9A48-86279DD86D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05E9871-0242-4AE7-8019-CD3D9BE0D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rtitionierung (I): Lösung für endlichen Member-Speich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76FC46-BD03-49DF-9503-6E3102ECAC72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/>
              <a:t>Problem: „In-Memory“ – durch Clients abgelegte Daten müssen in Member-Speicher pass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/>
              <a:t>Lösung: Partitionierung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dirty="0" err="1"/>
              <a:t>Hazelcast</a:t>
            </a:r>
            <a:r>
              <a:rPr lang="de-DE" dirty="0"/>
              <a:t>-Cluster bietet per Default 271 Partitionen für Datenstrukturen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dirty="0"/>
              <a:t>Partitionierung der Gesamtdatenmenge anhand des Entry-Schlüssels, dann so gleichmäßig wie möglich Verteilung von Partitionen auf Cluster-Member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dirty="0"/>
              <a:t>Automatisches Partitions-</a:t>
            </a:r>
            <a:r>
              <a:rPr lang="de-DE" dirty="0" err="1"/>
              <a:t>Rebalancing</a:t>
            </a:r>
            <a:r>
              <a:rPr lang="de-DE" dirty="0"/>
              <a:t> bei Änderungen der Member-Zahl (</a:t>
            </a:r>
            <a:r>
              <a:rPr lang="de-DE" dirty="0" err="1"/>
              <a:t>Up</a:t>
            </a:r>
            <a:r>
              <a:rPr lang="de-DE" dirty="0"/>
              <a:t>- oder </a:t>
            </a:r>
            <a:r>
              <a:rPr lang="de-DE" dirty="0" err="1"/>
              <a:t>Downscaling</a:t>
            </a:r>
            <a:r>
              <a:rPr lang="de-DE" dirty="0"/>
              <a:t>) 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dirty="0"/>
              <a:t>Für jede Partition automatisch Anfertigung von Backups (Default: 1 synchrones Backup; Anzahl kann für meistgenutzte Datenstrukturen wie IMap und </a:t>
            </a:r>
            <a:r>
              <a:rPr lang="de-DE" dirty="0" err="1"/>
              <a:t>IQueue</a:t>
            </a:r>
            <a:r>
              <a:rPr lang="de-DE" dirty="0"/>
              <a:t> angepasst werden) – Achtung, Speicherverbrauch!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de-DE" dirty="0"/>
              <a:t>Nicht alle Datenstrukturen partitioniert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dirty="0"/>
              <a:t>Partitioniert: </a:t>
            </a:r>
            <a:r>
              <a:rPr lang="de-DE" dirty="0" err="1"/>
              <a:t>Map</a:t>
            </a:r>
            <a:r>
              <a:rPr lang="de-DE" dirty="0"/>
              <a:t>, </a:t>
            </a:r>
            <a:r>
              <a:rPr lang="de-DE" dirty="0" err="1"/>
              <a:t>Multimap</a:t>
            </a:r>
            <a:r>
              <a:rPr lang="de-DE" dirty="0"/>
              <a:t>, Cache, Event Journal</a:t>
            </a:r>
          </a:p>
          <a:p>
            <a:pPr marL="522900" lvl="2" indent="-342900">
              <a:buFont typeface="Symbol" panose="05050102010706020507" pitchFamily="18" charset="2"/>
              <a:buChar char="-"/>
            </a:pPr>
            <a:r>
              <a:rPr lang="de-DE" dirty="0"/>
              <a:t>Nicht partitioniert: Queue, Set, List, </a:t>
            </a:r>
            <a:r>
              <a:rPr lang="de-DE" dirty="0" err="1"/>
              <a:t>Ringbuffer</a:t>
            </a:r>
            <a:r>
              <a:rPr lang="de-DE" dirty="0"/>
              <a:t>, </a:t>
            </a:r>
            <a:r>
              <a:rPr lang="de-DE" dirty="0" err="1"/>
              <a:t>FencedLock</a:t>
            </a:r>
            <a:r>
              <a:rPr lang="de-DE" dirty="0"/>
              <a:t>, …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800" b="0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9F1A65C-91C9-4C04-898A-58F58FAED912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32702AF-6838-404C-B238-7E8A28C1DF43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E125532-3037-4317-8DFE-8465C03CE65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l"/>
            <a:r>
              <a:rPr lang="de-DE"/>
              <a:t>Seite </a:t>
            </a:r>
            <a:fld id="{DC907883-A228-4E41-A7BF-33DDF6A01B2A}" type="slidenum">
              <a:rPr lang="de-DE" smtClean="0"/>
              <a:pPr algn="l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88934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33A6393-7CA5-4AD9-9A48-86279DD86D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0" name="think-cell Folie" r:id="rId4" imgW="235" imgH="235" progId="TCLayout.ActiveDocument.1">
                  <p:embed/>
                </p:oleObj>
              </mc:Choice>
              <mc:Fallback>
                <p:oleObj name="think-cell Folie" r:id="rId4" imgW="235" imgH="23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33A6393-7CA5-4AD9-9A48-86279DD86D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05E9871-0242-4AE7-8019-CD3D9BE0D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rtitionierung (II): Primaries und Backup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76FC46-BD03-49DF-9503-6E3102ECAC72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/>
              <a:t>Aus Backup-Mechanismus folgt, dass ein Member die primäre Partition (</a:t>
            </a:r>
            <a:r>
              <a:rPr lang="de-DE" sz="1800" b="0" i="1" dirty="0"/>
              <a:t>Primary</a:t>
            </a:r>
            <a:r>
              <a:rPr lang="de-DE" sz="1800" b="0" dirty="0"/>
              <a:t>) enthalten muss, anderer Member die Backup-Partition (</a:t>
            </a:r>
            <a:r>
              <a:rPr lang="de-DE" sz="1800" b="0" i="1" dirty="0"/>
              <a:t>Backup</a:t>
            </a:r>
            <a:r>
              <a:rPr lang="de-DE" sz="1800" b="0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/>
              <a:t>Member, der Primary trägt, heißt </a:t>
            </a:r>
            <a:r>
              <a:rPr lang="de-DE" sz="1800" b="0" i="1" dirty="0"/>
              <a:t>Partition-</a:t>
            </a:r>
            <a:r>
              <a:rPr lang="de-DE" sz="1800" b="0" i="1" dirty="0" err="1"/>
              <a:t>Owner</a:t>
            </a:r>
            <a:endParaRPr lang="de-DE" sz="18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/>
              <a:t>Anfragen von Clients ergehen für diese unbemerkt immer an den Partition-</a:t>
            </a:r>
            <a:r>
              <a:rPr lang="de-DE" sz="1800" b="0" dirty="0" err="1"/>
              <a:t>Owner</a:t>
            </a:r>
            <a:endParaRPr lang="de-DE" sz="18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/>
              <a:t>„Stirbt“ ein Partition-</a:t>
            </a:r>
            <a:r>
              <a:rPr lang="de-DE" sz="1800" b="0" dirty="0" err="1"/>
              <a:t>Owner</a:t>
            </a:r>
            <a:r>
              <a:rPr lang="de-DE" sz="1800" b="0" dirty="0"/>
              <a:t>, wird der Member, der das Backup trägt, zum neuen </a:t>
            </a:r>
            <a:r>
              <a:rPr lang="de-DE" sz="1800" b="0" dirty="0" err="1"/>
              <a:t>Owner</a:t>
            </a:r>
            <a:r>
              <a:rPr lang="de-DE" sz="1800" b="0" dirty="0"/>
              <a:t> und es wird ein neues Backup erzeug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="0" dirty="0"/>
              <a:t>Lite-Member tragen keine Partitionen – weder Primaries noch Backup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800" b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0A00332-2690-4FFA-B1EE-2C052B99190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9F1A65C-91C9-4C04-898A-58F58FAED912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32702AF-6838-404C-B238-7E8A28C1DF43}" type="datetime1">
              <a:rPr lang="de-DE" sz="800" smtClean="0">
                <a:solidFill>
                  <a:srgbClr val="444B52"/>
                </a:solidFill>
              </a:rPr>
              <a:t>18.12.2024</a:t>
            </a:fld>
            <a:endParaRPr lang="de-DE" sz="800" dirty="0">
              <a:solidFill>
                <a:srgbClr val="444B52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E125532-3037-4317-8DFE-8465C03CE65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l"/>
            <a:r>
              <a:rPr lang="de-DE"/>
              <a:t>Seite </a:t>
            </a:r>
            <a:fld id="{DC907883-A228-4E41-A7BF-33DDF6A01B2A}" type="slidenum">
              <a:rPr lang="de-DE" smtClean="0"/>
              <a:pPr algn="l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15087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SHOW_CA" val="Fals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ENDARROWHEAD" val="222"/>
  <p:tag name="VCTCREATESHAPEHANDLED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ENDARROWHEAD" val="222"/>
  <p:tag name="VCTCREATESHAPEHANDLED" val="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6/01/2015 11:38:54"/>
  <p:tag name="VCT-TEMPLATE" val="Finanz Informatik Folienmaster_rot.potx"/>
  <p:tag name="VCTMASTER" val="Vorschlag_Finanz Informatik Folienmaster_v2.11_rot"/>
  <p:tag name="VCTORDER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ContentArea"/>
  <p:tag name="DATE" val="09/10/2015 11:48:13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nanz Informatik">
  <a:themeElements>
    <a:clrScheme name="FI 2021 01">
      <a:dk1>
        <a:srgbClr val="444B52"/>
      </a:dk1>
      <a:lt1>
        <a:srgbClr val="CACFD4"/>
      </a:lt1>
      <a:dk2>
        <a:srgbClr val="FFFFFF"/>
      </a:dk2>
      <a:lt2>
        <a:srgbClr val="FF0000"/>
      </a:lt2>
      <a:accent1>
        <a:srgbClr val="DDE0E3"/>
      </a:accent1>
      <a:accent2>
        <a:srgbClr val="A1A9B1"/>
      </a:accent2>
      <a:accent3>
        <a:srgbClr val="444B52"/>
      </a:accent3>
      <a:accent4>
        <a:srgbClr val="24282C"/>
      </a:accent4>
      <a:accent5>
        <a:srgbClr val="CACFD4"/>
      </a:accent5>
      <a:accent6>
        <a:srgbClr val="76808A"/>
      </a:accent6>
      <a:hlink>
        <a:srgbClr val="004678"/>
      </a:hlink>
      <a:folHlink>
        <a:srgbClr val="FF0000"/>
      </a:folHlink>
    </a:clrScheme>
    <a:fontScheme name="Finanz Informati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  <a:ln w="6350">
          <a:solidFill>
            <a:schemeClr val="tx1"/>
          </a:solidFill>
        </a:ln>
      </a:spPr>
      <a:bodyPr rtlCol="0" anchor="ctr"/>
      <a:lstStyle>
        <a:defPPr algn="ctr">
          <a:spcBef>
            <a:spcPts val="300"/>
          </a:spcBef>
          <a:spcAft>
            <a:spcPts val="300"/>
          </a:spcAft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  <a:extLst>
          <a:ext uri="{909E8E84-426E-40DD-AFC4-6F175D3DCCD1}">
            <a14:hiddenFill xmlns:a14="http://schemas.microsoft.com/office/drawing/2010/main">
              <a:solidFill>
                <a:srgbClr val="FFFFFF">
                  <a:alpha val="0"/>
                </a:srgbClr>
              </a:solidFill>
            </a14:hiddenFill>
          </a:ext>
        </a:extLst>
      </a:spPr>
      <a:bodyPr vert="horz" wrap="square" lIns="0" tIns="0" rIns="0" bIns="0" rtlCol="0" anchor="t" anchorCtr="0">
        <a:noAutofit/>
      </a:bodyPr>
      <a:lstStyle>
        <a:defPPr algn="l">
          <a:defRPr b="0" dirty="0" err="1" smtClean="0">
            <a:latin typeface="Arial" panose="020B0604020202020204" pitchFamily="34" charset="0"/>
          </a:defRPr>
        </a:defPPr>
      </a:lstStyle>
    </a:txDef>
  </a:objectDefaults>
  <a:extraClrSchemeLst/>
  <a:custClrLst>
    <a:custClr name="Grau1">
      <a:srgbClr val="DDE0E3"/>
    </a:custClr>
    <a:custClr name="Grau">
      <a:srgbClr val="CACFD4"/>
    </a:custClr>
    <a:custClr name="Grau">
      <a:srgbClr val="A1A9B1"/>
    </a:custClr>
    <a:custClr name="Grau">
      <a:srgbClr val="76808A"/>
    </a:custClr>
    <a:custClr name="Grau">
      <a:srgbClr val="444B52"/>
    </a:custClr>
    <a:custClr name="Grau">
      <a:srgbClr val="24282C"/>
    </a:custClr>
    <a:custClr>
      <a:srgbClr val="FFFFFF"/>
    </a:custClr>
    <a:custClr name="Rot">
      <a:srgbClr val="FF0000"/>
    </a:custClr>
    <a:custClr name="Schwarz">
      <a:srgbClr val="000000"/>
    </a:custClr>
    <a:custClr>
      <a:srgbClr val="FFFFFF"/>
    </a:custClr>
    <a:custClr name="Gelb">
      <a:srgbClr val="FFCC00"/>
    </a:custClr>
    <a:custClr name="Orange">
      <a:srgbClr val="FF9900"/>
    </a:custClr>
    <a:custClr name="Rot">
      <a:srgbClr val="FF0000"/>
    </a:custClr>
    <a:custClr name="Violett">
      <a:srgbClr val="9A258F"/>
    </a:custClr>
    <a:custClr name="Dunkelblau">
      <a:srgbClr val="005AAA"/>
    </a:custClr>
    <a:custClr name="Hellblau">
      <a:srgbClr val="00AEEF"/>
    </a:custClr>
    <a:custClr name="Dunkelgrün">
      <a:srgbClr val="339966"/>
    </a:custClr>
    <a:custClr name="Hellgrün">
      <a:srgbClr val="E2E417"/>
    </a:custClr>
    <a:custClr>
      <a:srgbClr val="FFFFFF"/>
    </a:custClr>
    <a:custClr>
      <a:srgbClr val="FFFFFF"/>
    </a:custClr>
    <a:custClr>
      <a:srgbClr val="D7AE00"/>
    </a:custClr>
    <a:custClr>
      <a:srgbClr val="CF8700"/>
    </a:custClr>
    <a:custClr>
      <a:srgbClr val="B8061C"/>
    </a:custClr>
    <a:custClr>
      <a:srgbClr val="75055F"/>
    </a:custClr>
    <a:custClr>
      <a:srgbClr val="003F7D"/>
    </a:custClr>
    <a:custClr>
      <a:srgbClr val="007BAF"/>
    </a:custClr>
    <a:custClr>
      <a:srgbClr val="007348"/>
    </a:custClr>
    <a:custClr>
      <a:srgbClr val="CFC700"/>
    </a:custClr>
    <a:custClr>
      <a:srgbClr val="FFFFFF"/>
    </a:custClr>
    <a:custClr>
      <a:srgbClr val="FFFFFF"/>
    </a:custClr>
    <a:custClr>
      <a:srgbClr val="C39E00"/>
    </a:custClr>
    <a:custClr>
      <a:srgbClr val="BC7B00"/>
    </a:custClr>
    <a:custClr>
      <a:srgbClr val="9D0C19"/>
    </a:custClr>
    <a:custClr>
      <a:srgbClr val="5D004A"/>
    </a:custClr>
    <a:custClr>
      <a:srgbClr val="003064"/>
    </a:custClr>
    <a:custClr>
      <a:srgbClr val="006996"/>
    </a:custClr>
    <a:custClr>
      <a:srgbClr val="005D3A"/>
    </a:custClr>
    <a:custClr>
      <a:srgbClr val="B3AD00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FI_Folienmaster.potx" id="{160F0AC9-49CC-4DA4-AC83-3E469C85E02F}" vid="{07209419-1768-4F8C-9FB9-611E42CDB351}"/>
    </a:ext>
  </a:extLst>
</a:theme>
</file>

<file path=ppt/theme/theme2.xml><?xml version="1.0" encoding="utf-8"?>
<a:theme xmlns:a="http://schemas.openxmlformats.org/drawingml/2006/main" name="Larissa">
  <a:themeElements>
    <a:clrScheme name="FI">
      <a:dk1>
        <a:srgbClr val="444B52"/>
      </a:dk1>
      <a:lt1>
        <a:srgbClr val="CACFD4"/>
      </a:lt1>
      <a:dk2>
        <a:srgbClr val="FFFFFF"/>
      </a:dk2>
      <a:lt2>
        <a:srgbClr val="FF0000"/>
      </a:lt2>
      <a:accent1>
        <a:srgbClr val="DDE0E3"/>
      </a:accent1>
      <a:accent2>
        <a:srgbClr val="A1A9B1"/>
      </a:accent2>
      <a:accent3>
        <a:srgbClr val="444B52"/>
      </a:accent3>
      <a:accent4>
        <a:srgbClr val="24282C"/>
      </a:accent4>
      <a:accent5>
        <a:srgbClr val="CACFD4"/>
      </a:accent5>
      <a:accent6>
        <a:srgbClr val="76808A"/>
      </a:accent6>
      <a:hlink>
        <a:srgbClr val="004678"/>
      </a:hlink>
      <a:folHlink>
        <a:srgbClr val="FF0000"/>
      </a:folHlink>
    </a:clrScheme>
    <a:fontScheme name="Finanz Informati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FI Hellgrau">
      <a:srgbClr val="CACFD4"/>
    </a:custClr>
    <a:custClr name="FI Mittelgrau">
      <a:srgbClr val="A1A9B1"/>
    </a:custClr>
    <a:custClr name="FI Dunkelgrau (Text) ">
      <a:srgbClr val="444B52"/>
    </a:custClr>
    <a:custClr name="FI Hellblau">
      <a:srgbClr val="B5D5ED"/>
    </a:custClr>
    <a:custClr name="FI Mittelblau">
      <a:srgbClr val="589FD0"/>
    </a:custClr>
    <a:custClr name="FI Dunkelblau">
      <a:srgbClr val="004678"/>
    </a:custClr>
    <a:custClr name="FI Rot">
      <a:srgbClr val="FF0000"/>
    </a:custClr>
    <a:custClr name="FI Orange">
      <a:srgbClr val="FF6600"/>
    </a:custClr>
    <a:custClr name="FI Gelb">
      <a:srgbClr val="FFCC00"/>
    </a:custClr>
    <a:custClr name="FI Grün">
      <a:srgbClr val="99CC00"/>
    </a:custClr>
    <a:custClr name="FI Hellgrau Abstufung">
      <a:srgbClr val="DDE0E3"/>
    </a:custClr>
    <a:custClr name="FI Mittelgrau Abstufung">
      <a:srgbClr val="B5BCC3"/>
    </a:custClr>
    <a:custClr name="FI Dunkelgrau Abstufung">
      <a:srgbClr val="76808A"/>
    </a:custClr>
    <a:custClr name="FI Hellblau Abstufung">
      <a:srgbClr val="8DBEE3"/>
    </a:custClr>
    <a:custClr name="FI Mittelblau Abstufung">
      <a:srgbClr val="005F96"/>
    </a:custClr>
    <a:custClr name="FI Dunkelblau Abstufung">
      <a:srgbClr val="0A325A"/>
    </a:custClr>
    <a:custClr name="FI Rot Abstufung">
      <a:srgbClr val="680025"/>
    </a:custClr>
    <a:custClr name="FI Orange Abstufung">
      <a:srgbClr val="FFB982"/>
    </a:custClr>
    <a:custClr name="FI Gelb Abstufung">
      <a:srgbClr val="FFE678"/>
    </a:custClr>
    <a:custClr name="FI Grün Abstufung">
      <a:srgbClr val="C8E664"/>
    </a:custClr>
  </a:custClrLst>
</a:theme>
</file>

<file path=ppt/theme/theme3.xml><?xml version="1.0" encoding="utf-8"?>
<a:theme xmlns:a="http://schemas.openxmlformats.org/drawingml/2006/main" name="Larissa">
  <a:themeElements>
    <a:clrScheme name="FI">
      <a:dk1>
        <a:srgbClr val="444B52"/>
      </a:dk1>
      <a:lt1>
        <a:srgbClr val="CACFD4"/>
      </a:lt1>
      <a:dk2>
        <a:srgbClr val="FFFFFF"/>
      </a:dk2>
      <a:lt2>
        <a:srgbClr val="FF0000"/>
      </a:lt2>
      <a:accent1>
        <a:srgbClr val="DDE0E3"/>
      </a:accent1>
      <a:accent2>
        <a:srgbClr val="A1A9B1"/>
      </a:accent2>
      <a:accent3>
        <a:srgbClr val="444B52"/>
      </a:accent3>
      <a:accent4>
        <a:srgbClr val="24282C"/>
      </a:accent4>
      <a:accent5>
        <a:srgbClr val="CACFD4"/>
      </a:accent5>
      <a:accent6>
        <a:srgbClr val="76808A"/>
      </a:accent6>
      <a:hlink>
        <a:srgbClr val="004678"/>
      </a:hlink>
      <a:folHlink>
        <a:srgbClr val="FF0000"/>
      </a:folHlink>
    </a:clrScheme>
    <a:fontScheme name="Finanz Informati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FI Hellgrau">
      <a:srgbClr val="CACFD4"/>
    </a:custClr>
    <a:custClr name="FI Mittelgrau">
      <a:srgbClr val="A1A9B1"/>
    </a:custClr>
    <a:custClr name="FI Dunkelgrau (Text) ">
      <a:srgbClr val="444B52"/>
    </a:custClr>
    <a:custClr name="FI Hellblau">
      <a:srgbClr val="B5D5ED"/>
    </a:custClr>
    <a:custClr name="FI Mittelblau">
      <a:srgbClr val="589FD0"/>
    </a:custClr>
    <a:custClr name="FI Dunkelblau">
      <a:srgbClr val="004678"/>
    </a:custClr>
    <a:custClr name="FI Rot">
      <a:srgbClr val="FF0000"/>
    </a:custClr>
    <a:custClr name="FI Orange">
      <a:srgbClr val="FF6600"/>
    </a:custClr>
    <a:custClr name="FI Gelb">
      <a:srgbClr val="FFCC00"/>
    </a:custClr>
    <a:custClr name="FI Grün">
      <a:srgbClr val="99CC00"/>
    </a:custClr>
    <a:custClr name="FI Hellgrau Abstufung">
      <a:srgbClr val="DDE0E3"/>
    </a:custClr>
    <a:custClr name="FI Mittelgrau Abstufung">
      <a:srgbClr val="B5BCC3"/>
    </a:custClr>
    <a:custClr name="FI Dunkelgrau Abstufung">
      <a:srgbClr val="76808A"/>
    </a:custClr>
    <a:custClr name="FI Hellblau Abstufung">
      <a:srgbClr val="8DBEE3"/>
    </a:custClr>
    <a:custClr name="FI Mittelblau Abstufung">
      <a:srgbClr val="005F96"/>
    </a:custClr>
    <a:custClr name="FI Dunkelblau Abstufung">
      <a:srgbClr val="0A325A"/>
    </a:custClr>
    <a:custClr name="FI Rot Abstufung">
      <a:srgbClr val="680025"/>
    </a:custClr>
    <a:custClr name="FI Orange Abstufung">
      <a:srgbClr val="FFB982"/>
    </a:custClr>
    <a:custClr name="FI Gelb Abstufung">
      <a:srgbClr val="FFE678"/>
    </a:custClr>
    <a:custClr name="FI Grün Abstufung">
      <a:srgbClr val="C8E664"/>
    </a:custClr>
  </a:custClrLst>
</a:theme>
</file>

<file path=customUI/customUI14.xml><?xml version="1.0" encoding="utf-8"?>
<customUI xmlns="http://schemas.microsoft.com/office/2009/07/customui">
  <commands>
    <command idMso="ClipArtInsert" enabled="false"/>
  </commands>
</customUI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38</Words>
  <Application>Microsoft Office PowerPoint</Application>
  <PresentationFormat>Benutzerdefiniert</PresentationFormat>
  <Paragraphs>285</Paragraphs>
  <Slides>2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1" baseType="lpstr">
      <vt:lpstr>Arial</vt:lpstr>
      <vt:lpstr>Symbol</vt:lpstr>
      <vt:lpstr>Wingdings</vt:lpstr>
      <vt:lpstr>Wingdings 3</vt:lpstr>
      <vt:lpstr>Finanz Informatik</vt:lpstr>
      <vt:lpstr>think-cell Folie</vt:lpstr>
      <vt:lpstr>Lernstunde Hazelcast</vt:lpstr>
      <vt:lpstr>PowerPoint-Präsentation</vt:lpstr>
      <vt:lpstr>PowerPoint-Präsentation</vt:lpstr>
      <vt:lpstr>Einführung Hazelcast</vt:lpstr>
      <vt:lpstr>PowerPoint-Präsentation</vt:lpstr>
      <vt:lpstr>Deployment-Topologien</vt:lpstr>
      <vt:lpstr>PowerPoint-Präsentation</vt:lpstr>
      <vt:lpstr>Partitionierung (I): Lösung für endlichen Member-Speicher</vt:lpstr>
      <vt:lpstr>Partitionierung (II): Primaries und Backups</vt:lpstr>
      <vt:lpstr>Partitionierung (III): Vorgehen und Partitionstabelle</vt:lpstr>
      <vt:lpstr>PowerPoint-Präsentation</vt:lpstr>
      <vt:lpstr>IMap (I): Entry-Verteilung und Backups</vt:lpstr>
      <vt:lpstr>IMap (II): Expiration und Eviction von Entries</vt:lpstr>
      <vt:lpstr>PowerPoint-Präsentation</vt:lpstr>
      <vt:lpstr>Hazelcast bei der FI (I): Anwendungsübersicht</vt:lpstr>
      <vt:lpstr>Hazelcast bei der FI (II): Betriebs- und Deploymentmodell</vt:lpstr>
      <vt:lpstr>Hazelcast bei der FI (III): Member-Kommunikation lokal</vt:lpstr>
      <vt:lpstr>Hazelcast bei der FI (IV): Member-Kommunikation WAN</vt:lpstr>
      <vt:lpstr>PowerPoint-Präsentation</vt:lpstr>
      <vt:lpstr>Hands-On Hazelcast</vt:lpstr>
      <vt:lpstr> </vt:lpstr>
      <vt:lpstr>PowerPoint-Präsentation</vt:lpstr>
      <vt:lpstr>Wo finde ich was?</vt:lpstr>
      <vt:lpstr>Elemente für Baukasten (1/2)</vt:lpstr>
      <vt:lpstr>Elemente für Baukasten (2/2)</vt:lpstr>
    </vt:vector>
  </TitlesOfParts>
  <Manager/>
  <Company>Finanz Informati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Krieg, Nico</dc:creator>
  <dc:description>Optimiert für PowerPoint 365</dc:description>
  <cp:lastModifiedBy>Tomar, Vivek</cp:lastModifiedBy>
  <cp:revision>33</cp:revision>
  <dcterms:created xsi:type="dcterms:W3CDTF">2021-10-07T11:05:10Z</dcterms:created>
  <dcterms:modified xsi:type="dcterms:W3CDTF">2024-12-18T16:34:11Z</dcterms:modified>
</cp:coreProperties>
</file>